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tags/tag3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355" r:id="rId5"/>
    <p:sldMasterId id="2147484378" r:id="rId6"/>
  </p:sldMasterIdLst>
  <p:notesMasterIdLst>
    <p:notesMasterId r:id="rId39"/>
  </p:notesMasterIdLst>
  <p:handoutMasterIdLst>
    <p:handoutMasterId r:id="rId40"/>
  </p:handoutMasterIdLst>
  <p:sldIdLst>
    <p:sldId id="257" r:id="rId7"/>
    <p:sldId id="299" r:id="rId8"/>
    <p:sldId id="370" r:id="rId9"/>
    <p:sldId id="320" r:id="rId10"/>
    <p:sldId id="395" r:id="rId11"/>
    <p:sldId id="371" r:id="rId12"/>
    <p:sldId id="402" r:id="rId13"/>
    <p:sldId id="403" r:id="rId14"/>
    <p:sldId id="404" r:id="rId15"/>
    <p:sldId id="417" r:id="rId16"/>
    <p:sldId id="396" r:id="rId17"/>
    <p:sldId id="407" r:id="rId18"/>
    <p:sldId id="409" r:id="rId19"/>
    <p:sldId id="345" r:id="rId20"/>
    <p:sldId id="297" r:id="rId21"/>
    <p:sldId id="398" r:id="rId22"/>
    <p:sldId id="420" r:id="rId23"/>
    <p:sldId id="324" r:id="rId24"/>
    <p:sldId id="418" r:id="rId25"/>
    <p:sldId id="399" r:id="rId26"/>
    <p:sldId id="400" r:id="rId27"/>
    <p:sldId id="411" r:id="rId28"/>
    <p:sldId id="412" r:id="rId29"/>
    <p:sldId id="413" r:id="rId30"/>
    <p:sldId id="414" r:id="rId31"/>
    <p:sldId id="415" r:id="rId32"/>
    <p:sldId id="416" r:id="rId33"/>
    <p:sldId id="422" r:id="rId34"/>
    <p:sldId id="384" r:id="rId35"/>
    <p:sldId id="405" r:id="rId36"/>
    <p:sldId id="406" r:id="rId37"/>
    <p:sldId id="394" r:id="rId38"/>
  </p:sldIdLst>
  <p:sldSz cx="12190413" cy="6858000"/>
  <p:notesSz cx="7315200" cy="96012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93">
          <p15:clr>
            <a:srgbClr val="A4A3A4"/>
          </p15:clr>
        </p15:guide>
        <p15:guide id="3" pos="619">
          <p15:clr>
            <a:srgbClr val="A4A3A4"/>
          </p15:clr>
        </p15:guide>
        <p15:guide id="15" orient="horz" pos="2478">
          <p15:clr>
            <a:srgbClr val="A4A3A4"/>
          </p15:clr>
        </p15:guide>
        <p15:guide id="16" orient="horz" pos="2704">
          <p15:clr>
            <a:srgbClr val="A4A3A4"/>
          </p15:clr>
        </p15:guide>
        <p15:guide id="17" orient="horz" pos="4086">
          <p15:clr>
            <a:srgbClr val="A4A3A4"/>
          </p15:clr>
        </p15:guide>
        <p15:guide id="18" orient="horz" pos="2592">
          <p15:clr>
            <a:srgbClr val="A4A3A4"/>
          </p15:clr>
        </p15:guide>
        <p15:guide id="19" pos="7422">
          <p15:clr>
            <a:srgbClr val="A4A3A4"/>
          </p15:clr>
        </p15:guide>
        <p15:guide id="20" pos="2149">
          <p15:clr>
            <a:srgbClr val="A4A3A4"/>
          </p15:clr>
        </p15:guide>
        <p15:guide id="21" pos="3908">
          <p15:clr>
            <a:srgbClr val="A4A3A4"/>
          </p15:clr>
        </p15:guide>
        <p15:guide id="22" pos="2376">
          <p15:clr>
            <a:srgbClr val="A4A3A4"/>
          </p15:clr>
        </p15:guide>
        <p15:guide id="23" pos="5666">
          <p15:clr>
            <a:srgbClr val="A4A3A4"/>
          </p15:clr>
        </p15:guide>
        <p15:guide id="24" pos="5894">
          <p15:clr>
            <a:srgbClr val="A4A3A4"/>
          </p15:clr>
        </p15:guide>
        <p15:guide id="25" pos="4134">
          <p15:clr>
            <a:srgbClr val="A4A3A4"/>
          </p15:clr>
        </p15:guide>
        <p15:guide id="26" pos="40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760" userDrawn="1">
          <p15:clr>
            <a:srgbClr val="A4A3A4"/>
          </p15:clr>
        </p15:guide>
        <p15:guide id="2" pos="2294" userDrawn="1">
          <p15:clr>
            <a:srgbClr val="A4A3A4"/>
          </p15:clr>
        </p15:guide>
        <p15:guide id="3" orient="horz" pos="2738" userDrawn="1">
          <p15:clr>
            <a:srgbClr val="A4A3A4"/>
          </p15:clr>
        </p15:guide>
        <p15:guide id="4" pos="209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icky Zhu" initials="VZ" lastIdx="2" clrIdx="0">
    <p:extLst>
      <p:ext uri="{19B8F6BF-5375-455C-9EA6-DF929625EA0E}">
        <p15:presenceInfo xmlns:p15="http://schemas.microsoft.com/office/powerpoint/2012/main" userId="S::vicky.zhu@bayer.com::43b2fca5-5078-400e-a96a-6011ea3ac46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B512"/>
    <a:srgbClr val="74C713"/>
    <a:srgbClr val="00A5E2"/>
    <a:srgbClr val="E61A5D"/>
    <a:srgbClr val="FF3162"/>
    <a:srgbClr val="624963"/>
    <a:srgbClr val="D30F4B"/>
    <a:srgbClr val="0091DF"/>
    <a:srgbClr val="00617F"/>
    <a:srgbClr val="2B66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289181A-5FA1-424C-B45C-C04993BD12F8}" v="718" dt="2022-09-03T02:35:18.77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9" d="100"/>
          <a:sy n="69" d="100"/>
        </p:scale>
        <p:origin x="540" y="32"/>
      </p:cViewPr>
      <p:guideLst>
        <p:guide orient="horz" pos="1093"/>
        <p:guide pos="619"/>
        <p:guide orient="horz" pos="2478"/>
        <p:guide orient="horz" pos="2704"/>
        <p:guide orient="horz" pos="4086"/>
        <p:guide orient="horz" pos="2592"/>
        <p:guide pos="7422"/>
        <p:guide pos="2149"/>
        <p:guide pos="3908"/>
        <p:guide pos="2376"/>
        <p:guide pos="5666"/>
        <p:guide pos="5894"/>
        <p:guide pos="4134"/>
        <p:guide pos="402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760"/>
        <p:guide pos="2294"/>
        <p:guide orient="horz" pos="2738"/>
        <p:guide pos="209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presProps" Target="presProps.xml"/><Relationship Id="rId47" Type="http://schemas.microsoft.com/office/2015/10/relationships/revisionInfo" Target="revisionInfo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handoutMaster" Target="handoutMasters/handoutMaster1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icky Zhu" userId="43b2fca5-5078-400e-a96a-6011ea3ac46d" providerId="ADAL" clId="{7289181A-5FA1-424C-B45C-C04993BD12F8}"/>
    <pc:docChg chg="undo custSel addSld delSld modSld sldOrd">
      <pc:chgData name="Vicky Zhu" userId="43b2fca5-5078-400e-a96a-6011ea3ac46d" providerId="ADAL" clId="{7289181A-5FA1-424C-B45C-C04993BD12F8}" dt="2022-09-03T02:35:30.292" v="5622" actId="13926"/>
      <pc:docMkLst>
        <pc:docMk/>
      </pc:docMkLst>
      <pc:sldChg chg="modSp">
        <pc:chgData name="Vicky Zhu" userId="43b2fca5-5078-400e-a96a-6011ea3ac46d" providerId="ADAL" clId="{7289181A-5FA1-424C-B45C-C04993BD12F8}" dt="2022-08-25T16:15:00.148" v="2603" actId="20577"/>
        <pc:sldMkLst>
          <pc:docMk/>
          <pc:sldMk cId="3091455554" sldId="257"/>
        </pc:sldMkLst>
        <pc:graphicFrameChg chg="mod">
          <ac:chgData name="Vicky Zhu" userId="43b2fca5-5078-400e-a96a-6011ea3ac46d" providerId="ADAL" clId="{7289181A-5FA1-424C-B45C-C04993BD12F8}" dt="2022-08-25T16:15:00.148" v="2603" actId="20577"/>
          <ac:graphicFrameMkLst>
            <pc:docMk/>
            <pc:sldMk cId="3091455554" sldId="257"/>
            <ac:graphicFrameMk id="24" creationId="{E3026739-983C-4270-810D-137838CC43AD}"/>
          </ac:graphicFrameMkLst>
        </pc:graphicFrameChg>
      </pc:sldChg>
      <pc:sldChg chg="modSp mod">
        <pc:chgData name="Vicky Zhu" userId="43b2fca5-5078-400e-a96a-6011ea3ac46d" providerId="ADAL" clId="{7289181A-5FA1-424C-B45C-C04993BD12F8}" dt="2022-08-24T22:57:50.677" v="12" actId="20577"/>
        <pc:sldMkLst>
          <pc:docMk/>
          <pc:sldMk cId="744808691" sldId="299"/>
        </pc:sldMkLst>
        <pc:spChg chg="mod">
          <ac:chgData name="Vicky Zhu" userId="43b2fca5-5078-400e-a96a-6011ea3ac46d" providerId="ADAL" clId="{7289181A-5FA1-424C-B45C-C04993BD12F8}" dt="2022-08-24T22:57:50.677" v="12" actId="20577"/>
          <ac:spMkLst>
            <pc:docMk/>
            <pc:sldMk cId="744808691" sldId="299"/>
            <ac:spMk id="10" creationId="{00000000-0000-0000-0000-000000000000}"/>
          </ac:spMkLst>
        </pc:spChg>
      </pc:sldChg>
      <pc:sldChg chg="modSp mod">
        <pc:chgData name="Vicky Zhu" userId="43b2fca5-5078-400e-a96a-6011ea3ac46d" providerId="ADAL" clId="{7289181A-5FA1-424C-B45C-C04993BD12F8}" dt="2022-08-24T23:25:41.387" v="1427" actId="20577"/>
        <pc:sldMkLst>
          <pc:docMk/>
          <pc:sldMk cId="93018660" sldId="324"/>
        </pc:sldMkLst>
        <pc:spChg chg="mod">
          <ac:chgData name="Vicky Zhu" userId="43b2fca5-5078-400e-a96a-6011ea3ac46d" providerId="ADAL" clId="{7289181A-5FA1-424C-B45C-C04993BD12F8}" dt="2022-08-24T23:25:41.387" v="1427" actId="20577"/>
          <ac:spMkLst>
            <pc:docMk/>
            <pc:sldMk cId="93018660" sldId="324"/>
            <ac:spMk id="2" creationId="{00000000-0000-0000-0000-000000000000}"/>
          </ac:spMkLst>
        </pc:spChg>
      </pc:sldChg>
      <pc:sldChg chg="modSp mod">
        <pc:chgData name="Vicky Zhu" userId="43b2fca5-5078-400e-a96a-6011ea3ac46d" providerId="ADAL" clId="{7289181A-5FA1-424C-B45C-C04993BD12F8}" dt="2022-08-30T15:02:04.952" v="4479" actId="20577"/>
        <pc:sldMkLst>
          <pc:docMk/>
          <pc:sldMk cId="508647984" sldId="370"/>
        </pc:sldMkLst>
        <pc:spChg chg="mod">
          <ac:chgData name="Vicky Zhu" userId="43b2fca5-5078-400e-a96a-6011ea3ac46d" providerId="ADAL" clId="{7289181A-5FA1-424C-B45C-C04993BD12F8}" dt="2022-08-30T15:02:04.952" v="4479" actId="20577"/>
          <ac:spMkLst>
            <pc:docMk/>
            <pc:sldMk cId="508647984" sldId="370"/>
            <ac:spMk id="7" creationId="{7D7A5871-5842-4536-AD65-E7B65C25E83D}"/>
          </ac:spMkLst>
        </pc:spChg>
      </pc:sldChg>
      <pc:sldChg chg="modSp mod">
        <pc:chgData name="Vicky Zhu" userId="43b2fca5-5078-400e-a96a-6011ea3ac46d" providerId="ADAL" clId="{7289181A-5FA1-424C-B45C-C04993BD12F8}" dt="2022-08-25T16:28:39.093" v="2694" actId="20577"/>
        <pc:sldMkLst>
          <pc:docMk/>
          <pc:sldMk cId="2703839325" sldId="371"/>
        </pc:sldMkLst>
        <pc:spChg chg="mod">
          <ac:chgData name="Vicky Zhu" userId="43b2fca5-5078-400e-a96a-6011ea3ac46d" providerId="ADAL" clId="{7289181A-5FA1-424C-B45C-C04993BD12F8}" dt="2022-08-25T16:28:39.093" v="2694" actId="20577"/>
          <ac:spMkLst>
            <pc:docMk/>
            <pc:sldMk cId="2703839325" sldId="371"/>
            <ac:spMk id="2" creationId="{A1EBBED5-9EAB-4E13-B489-E4E88F19594E}"/>
          </ac:spMkLst>
        </pc:spChg>
      </pc:sldChg>
      <pc:sldChg chg="modSp">
        <pc:chgData name="Vicky Zhu" userId="43b2fca5-5078-400e-a96a-6011ea3ac46d" providerId="ADAL" clId="{7289181A-5FA1-424C-B45C-C04993BD12F8}" dt="2022-08-25T02:02:33.823" v="2588" actId="20577"/>
        <pc:sldMkLst>
          <pc:docMk/>
          <pc:sldMk cId="383403786" sldId="384"/>
        </pc:sldMkLst>
        <pc:graphicFrameChg chg="mod">
          <ac:chgData name="Vicky Zhu" userId="43b2fca5-5078-400e-a96a-6011ea3ac46d" providerId="ADAL" clId="{7289181A-5FA1-424C-B45C-C04993BD12F8}" dt="2022-08-25T02:02:33.823" v="2588" actId="20577"/>
          <ac:graphicFrameMkLst>
            <pc:docMk/>
            <pc:sldMk cId="383403786" sldId="384"/>
            <ac:graphicFrameMk id="12" creationId="{A47836E1-3925-4357-8C5D-3405878B27D8}"/>
          </ac:graphicFrameMkLst>
        </pc:graphicFrameChg>
      </pc:sldChg>
      <pc:sldChg chg="addSp modSp mod modNotesTx">
        <pc:chgData name="Vicky Zhu" userId="43b2fca5-5078-400e-a96a-6011ea3ac46d" providerId="ADAL" clId="{7289181A-5FA1-424C-B45C-C04993BD12F8}" dt="2022-08-30T15:02:27.952" v="4495" actId="20577"/>
        <pc:sldMkLst>
          <pc:docMk/>
          <pc:sldMk cId="3110932440" sldId="395"/>
        </pc:sldMkLst>
        <pc:spChg chg="mod">
          <ac:chgData name="Vicky Zhu" userId="43b2fca5-5078-400e-a96a-6011ea3ac46d" providerId="ADAL" clId="{7289181A-5FA1-424C-B45C-C04993BD12F8}" dt="2022-08-30T15:02:27.952" v="4495" actId="20577"/>
          <ac:spMkLst>
            <pc:docMk/>
            <pc:sldMk cId="3110932440" sldId="395"/>
            <ac:spMk id="9" creationId="{BD13FD42-D89E-400D-B134-ADCBFF33A769}"/>
          </ac:spMkLst>
        </pc:spChg>
        <pc:cxnChg chg="add mod">
          <ac:chgData name="Vicky Zhu" userId="43b2fca5-5078-400e-a96a-6011ea3ac46d" providerId="ADAL" clId="{7289181A-5FA1-424C-B45C-C04993BD12F8}" dt="2022-08-24T23:00:21.551" v="78" actId="1076"/>
          <ac:cxnSpMkLst>
            <pc:docMk/>
            <pc:sldMk cId="3110932440" sldId="395"/>
            <ac:cxnSpMk id="3" creationId="{F943B99C-B7A1-4BFF-AABF-75B1D89B7A2E}"/>
          </ac:cxnSpMkLst>
        </pc:cxnChg>
      </pc:sldChg>
      <pc:sldChg chg="addSp delSp modSp mod delAnim modAnim">
        <pc:chgData name="Vicky Zhu" userId="43b2fca5-5078-400e-a96a-6011ea3ac46d" providerId="ADAL" clId="{7289181A-5FA1-424C-B45C-C04993BD12F8}" dt="2022-08-30T15:33:11.442" v="5012" actId="208"/>
        <pc:sldMkLst>
          <pc:docMk/>
          <pc:sldMk cId="825919579" sldId="398"/>
        </pc:sldMkLst>
        <pc:spChg chg="mod">
          <ac:chgData name="Vicky Zhu" userId="43b2fca5-5078-400e-a96a-6011ea3ac46d" providerId="ADAL" clId="{7289181A-5FA1-424C-B45C-C04993BD12F8}" dt="2022-08-25T16:53:41.580" v="2866" actId="20577"/>
          <ac:spMkLst>
            <pc:docMk/>
            <pc:sldMk cId="825919579" sldId="398"/>
            <ac:spMk id="2" creationId="{0856FFE2-A98D-4D10-8C7E-59E1757CF67A}"/>
          </ac:spMkLst>
        </pc:spChg>
        <pc:spChg chg="mod">
          <ac:chgData name="Vicky Zhu" userId="43b2fca5-5078-400e-a96a-6011ea3ac46d" providerId="ADAL" clId="{7289181A-5FA1-424C-B45C-C04993BD12F8}" dt="2022-08-24T23:24:16.758" v="1367" actId="20577"/>
          <ac:spMkLst>
            <pc:docMk/>
            <pc:sldMk cId="825919579" sldId="398"/>
            <ac:spMk id="3" creationId="{2251B857-B0B6-4A6D-89AC-D52BB29E2763}"/>
          </ac:spMkLst>
        </pc:spChg>
        <pc:spChg chg="mod">
          <ac:chgData name="Vicky Zhu" userId="43b2fca5-5078-400e-a96a-6011ea3ac46d" providerId="ADAL" clId="{7289181A-5FA1-424C-B45C-C04993BD12F8}" dt="2022-08-30T15:31:22.975" v="4984" actId="1076"/>
          <ac:spMkLst>
            <pc:docMk/>
            <pc:sldMk cId="825919579" sldId="398"/>
            <ac:spMk id="6" creationId="{5C3E6664-5154-4606-9A00-C29BA0890737}"/>
          </ac:spMkLst>
        </pc:spChg>
        <pc:spChg chg="mod">
          <ac:chgData name="Vicky Zhu" userId="43b2fca5-5078-400e-a96a-6011ea3ac46d" providerId="ADAL" clId="{7289181A-5FA1-424C-B45C-C04993BD12F8}" dt="2022-08-30T15:31:30.278" v="4985" actId="1076"/>
          <ac:spMkLst>
            <pc:docMk/>
            <pc:sldMk cId="825919579" sldId="398"/>
            <ac:spMk id="11" creationId="{3057E78C-D0FB-4DC8-BBF5-2196445AEF0A}"/>
          </ac:spMkLst>
        </pc:spChg>
        <pc:spChg chg="mod">
          <ac:chgData name="Vicky Zhu" userId="43b2fca5-5078-400e-a96a-6011ea3ac46d" providerId="ADAL" clId="{7289181A-5FA1-424C-B45C-C04993BD12F8}" dt="2022-08-30T15:32:54.529" v="5009" actId="1076"/>
          <ac:spMkLst>
            <pc:docMk/>
            <pc:sldMk cId="825919579" sldId="398"/>
            <ac:spMk id="15" creationId="{37D85AFC-823D-4657-B24D-3355AE2A414A}"/>
          </ac:spMkLst>
        </pc:spChg>
        <pc:spChg chg="mod">
          <ac:chgData name="Vicky Zhu" userId="43b2fca5-5078-400e-a96a-6011ea3ac46d" providerId="ADAL" clId="{7289181A-5FA1-424C-B45C-C04993BD12F8}" dt="2022-08-30T15:33:11.442" v="5012" actId="208"/>
          <ac:spMkLst>
            <pc:docMk/>
            <pc:sldMk cId="825919579" sldId="398"/>
            <ac:spMk id="16" creationId="{05A7CDF1-2351-4C34-9CBA-16FD838ED019}"/>
          </ac:spMkLst>
        </pc:spChg>
        <pc:spChg chg="mod">
          <ac:chgData name="Vicky Zhu" userId="43b2fca5-5078-400e-a96a-6011ea3ac46d" providerId="ADAL" clId="{7289181A-5FA1-424C-B45C-C04993BD12F8}" dt="2022-08-30T15:32:59.028" v="5010" actId="1076"/>
          <ac:spMkLst>
            <pc:docMk/>
            <pc:sldMk cId="825919579" sldId="398"/>
            <ac:spMk id="17" creationId="{9813E956-7B09-4E5D-85E0-F6BAFE118A1E}"/>
          </ac:spMkLst>
        </pc:spChg>
        <pc:spChg chg="add mod">
          <ac:chgData name="Vicky Zhu" userId="43b2fca5-5078-400e-a96a-6011ea3ac46d" providerId="ADAL" clId="{7289181A-5FA1-424C-B45C-C04993BD12F8}" dt="2022-08-30T15:32:40.506" v="5003" actId="1035"/>
          <ac:spMkLst>
            <pc:docMk/>
            <pc:sldMk cId="825919579" sldId="398"/>
            <ac:spMk id="18" creationId="{28FFCEB8-36B3-487F-96E6-C64ACB6E772D}"/>
          </ac:spMkLst>
        </pc:spChg>
        <pc:spChg chg="add mod">
          <ac:chgData name="Vicky Zhu" userId="43b2fca5-5078-400e-a96a-6011ea3ac46d" providerId="ADAL" clId="{7289181A-5FA1-424C-B45C-C04993BD12F8}" dt="2022-08-30T15:32:47.981" v="5008" actId="1038"/>
          <ac:spMkLst>
            <pc:docMk/>
            <pc:sldMk cId="825919579" sldId="398"/>
            <ac:spMk id="19" creationId="{807A6FF9-F71A-4DF0-AF10-99F5C8D80659}"/>
          </ac:spMkLst>
        </pc:spChg>
        <pc:spChg chg="del mod">
          <ac:chgData name="Vicky Zhu" userId="43b2fca5-5078-400e-a96a-6011ea3ac46d" providerId="ADAL" clId="{7289181A-5FA1-424C-B45C-C04993BD12F8}" dt="2022-08-30T15:31:56.122" v="4991" actId="478"/>
          <ac:spMkLst>
            <pc:docMk/>
            <pc:sldMk cId="825919579" sldId="398"/>
            <ac:spMk id="29" creationId="{2DC6CACD-940B-447C-816F-8207DAA08483}"/>
          </ac:spMkLst>
        </pc:spChg>
        <pc:picChg chg="mod">
          <ac:chgData name="Vicky Zhu" userId="43b2fca5-5078-400e-a96a-6011ea3ac46d" providerId="ADAL" clId="{7289181A-5FA1-424C-B45C-C04993BD12F8}" dt="2022-08-30T15:32:34.894" v="4996" actId="1076"/>
          <ac:picMkLst>
            <pc:docMk/>
            <pc:sldMk cId="825919579" sldId="398"/>
            <ac:picMk id="7" creationId="{C578CE2A-E7BC-4E5E-98E8-4208BCF69A7C}"/>
          </ac:picMkLst>
        </pc:picChg>
        <pc:picChg chg="add del mod">
          <ac:chgData name="Vicky Zhu" userId="43b2fca5-5078-400e-a96a-6011ea3ac46d" providerId="ADAL" clId="{7289181A-5FA1-424C-B45C-C04993BD12F8}" dt="2022-08-30T15:30:27.666" v="4977" actId="478"/>
          <ac:picMkLst>
            <pc:docMk/>
            <pc:sldMk cId="825919579" sldId="398"/>
            <ac:picMk id="9" creationId="{AFF49011-D2B4-41BE-BC1D-57DD383E6B35}"/>
          </ac:picMkLst>
        </pc:picChg>
        <pc:picChg chg="mod">
          <ac:chgData name="Vicky Zhu" userId="43b2fca5-5078-400e-a96a-6011ea3ac46d" providerId="ADAL" clId="{7289181A-5FA1-424C-B45C-C04993BD12F8}" dt="2022-08-30T15:32:36.652" v="4997" actId="1076"/>
          <ac:picMkLst>
            <pc:docMk/>
            <pc:sldMk cId="825919579" sldId="398"/>
            <ac:picMk id="12" creationId="{06E13CC3-B075-4F97-AAA0-E0744EAEF87F}"/>
          </ac:picMkLst>
        </pc:picChg>
        <pc:picChg chg="del mod">
          <ac:chgData name="Vicky Zhu" userId="43b2fca5-5078-400e-a96a-6011ea3ac46d" providerId="ADAL" clId="{7289181A-5FA1-424C-B45C-C04993BD12F8}" dt="2022-08-30T15:31:46.506" v="4990" actId="478"/>
          <ac:picMkLst>
            <pc:docMk/>
            <pc:sldMk cId="825919579" sldId="398"/>
            <ac:picMk id="31" creationId="{85585130-0289-4761-8A01-6BEA59CFA263}"/>
          </ac:picMkLst>
        </pc:picChg>
        <pc:cxnChg chg="del mod">
          <ac:chgData name="Vicky Zhu" userId="43b2fca5-5078-400e-a96a-6011ea3ac46d" providerId="ADAL" clId="{7289181A-5FA1-424C-B45C-C04993BD12F8}" dt="2022-08-30T15:31:37.607" v="4987" actId="478"/>
          <ac:cxnSpMkLst>
            <pc:docMk/>
            <pc:sldMk cId="825919579" sldId="398"/>
            <ac:cxnSpMk id="22" creationId="{0398B488-FCA9-4B7C-94AC-444A92A7EB36}"/>
          </ac:cxnSpMkLst>
        </pc:cxnChg>
        <pc:cxnChg chg="del mod">
          <ac:chgData name="Vicky Zhu" userId="43b2fca5-5078-400e-a96a-6011ea3ac46d" providerId="ADAL" clId="{7289181A-5FA1-424C-B45C-C04993BD12F8}" dt="2022-08-30T15:31:35.847" v="4986" actId="478"/>
          <ac:cxnSpMkLst>
            <pc:docMk/>
            <pc:sldMk cId="825919579" sldId="398"/>
            <ac:cxnSpMk id="27" creationId="{629CBEEC-5796-45B6-9177-FB4BE0231A82}"/>
          </ac:cxnSpMkLst>
        </pc:cxnChg>
      </pc:sldChg>
      <pc:sldChg chg="addSp modSp mod modNotesTx">
        <pc:chgData name="Vicky Zhu" userId="43b2fca5-5078-400e-a96a-6011ea3ac46d" providerId="ADAL" clId="{7289181A-5FA1-424C-B45C-C04993BD12F8}" dt="2022-08-30T14:53:42.941" v="4266" actId="1076"/>
        <pc:sldMkLst>
          <pc:docMk/>
          <pc:sldMk cId="536835177" sldId="399"/>
        </pc:sldMkLst>
        <pc:spChg chg="mod">
          <ac:chgData name="Vicky Zhu" userId="43b2fca5-5078-400e-a96a-6011ea3ac46d" providerId="ADAL" clId="{7289181A-5FA1-424C-B45C-C04993BD12F8}" dt="2022-08-25T16:58:32.179" v="2953" actId="20577"/>
          <ac:spMkLst>
            <pc:docMk/>
            <pc:sldMk cId="536835177" sldId="399"/>
            <ac:spMk id="2" creationId="{48C75561-6334-476D-9124-96441C666A04}"/>
          </ac:spMkLst>
        </pc:spChg>
        <pc:spChg chg="mod">
          <ac:chgData name="Vicky Zhu" userId="43b2fca5-5078-400e-a96a-6011ea3ac46d" providerId="ADAL" clId="{7289181A-5FA1-424C-B45C-C04993BD12F8}" dt="2022-08-30T14:53:42.941" v="4266" actId="1076"/>
          <ac:spMkLst>
            <pc:docMk/>
            <pc:sldMk cId="536835177" sldId="399"/>
            <ac:spMk id="18" creationId="{6280AC70-28F2-4977-B2CB-41D479DB1A63}"/>
          </ac:spMkLst>
        </pc:spChg>
        <pc:spChg chg="mod">
          <ac:chgData name="Vicky Zhu" userId="43b2fca5-5078-400e-a96a-6011ea3ac46d" providerId="ADAL" clId="{7289181A-5FA1-424C-B45C-C04993BD12F8}" dt="2022-08-30T14:46:35.815" v="4225" actId="13926"/>
          <ac:spMkLst>
            <pc:docMk/>
            <pc:sldMk cId="536835177" sldId="399"/>
            <ac:spMk id="20" creationId="{F467548B-04A7-4360-A0C3-2FAF91187972}"/>
          </ac:spMkLst>
        </pc:spChg>
        <pc:spChg chg="add mod">
          <ac:chgData name="Vicky Zhu" userId="43b2fca5-5078-400e-a96a-6011ea3ac46d" providerId="ADAL" clId="{7289181A-5FA1-424C-B45C-C04993BD12F8}" dt="2022-08-30T14:33:23.904" v="4040"/>
          <ac:spMkLst>
            <pc:docMk/>
            <pc:sldMk cId="536835177" sldId="399"/>
            <ac:spMk id="21" creationId="{90BC3543-E058-465C-86AA-E30B1484E6BF}"/>
          </ac:spMkLst>
        </pc:spChg>
        <pc:spChg chg="add mod">
          <ac:chgData name="Vicky Zhu" userId="43b2fca5-5078-400e-a96a-6011ea3ac46d" providerId="ADAL" clId="{7289181A-5FA1-424C-B45C-C04993BD12F8}" dt="2022-08-30T14:33:35.829" v="4044" actId="1076"/>
          <ac:spMkLst>
            <pc:docMk/>
            <pc:sldMk cId="536835177" sldId="399"/>
            <ac:spMk id="22" creationId="{BC64E969-086B-462C-BB57-71D8872284AA}"/>
          </ac:spMkLst>
        </pc:spChg>
        <pc:spChg chg="add mod">
          <ac:chgData name="Vicky Zhu" userId="43b2fca5-5078-400e-a96a-6011ea3ac46d" providerId="ADAL" clId="{7289181A-5FA1-424C-B45C-C04993BD12F8}" dt="2022-08-30T14:33:30.524" v="4043" actId="1076"/>
          <ac:spMkLst>
            <pc:docMk/>
            <pc:sldMk cId="536835177" sldId="399"/>
            <ac:spMk id="23" creationId="{6F68ED4E-4AB3-444B-972C-7D83463198FE}"/>
          </ac:spMkLst>
        </pc:spChg>
        <pc:spChg chg="add mod">
          <ac:chgData name="Vicky Zhu" userId="43b2fca5-5078-400e-a96a-6011ea3ac46d" providerId="ADAL" clId="{7289181A-5FA1-424C-B45C-C04993BD12F8}" dt="2022-08-30T14:36:56.201" v="4081" actId="1076"/>
          <ac:spMkLst>
            <pc:docMk/>
            <pc:sldMk cId="536835177" sldId="399"/>
            <ac:spMk id="24" creationId="{AC83D706-EBA7-48C9-AC6B-EB4CE478281C}"/>
          </ac:spMkLst>
        </pc:spChg>
        <pc:spChg chg="mod">
          <ac:chgData name="Vicky Zhu" userId="43b2fca5-5078-400e-a96a-6011ea3ac46d" providerId="ADAL" clId="{7289181A-5FA1-424C-B45C-C04993BD12F8}" dt="2022-08-30T14:46:39.652" v="4226" actId="13926"/>
          <ac:spMkLst>
            <pc:docMk/>
            <pc:sldMk cId="536835177" sldId="399"/>
            <ac:spMk id="25" creationId="{C6980F78-748F-4344-9C71-5E7A4DBCE6D0}"/>
          </ac:spMkLst>
        </pc:spChg>
        <pc:spChg chg="add mod">
          <ac:chgData name="Vicky Zhu" userId="43b2fca5-5078-400e-a96a-6011ea3ac46d" providerId="ADAL" clId="{7289181A-5FA1-424C-B45C-C04993BD12F8}" dt="2022-08-30T14:36:44.367" v="4079" actId="1076"/>
          <ac:spMkLst>
            <pc:docMk/>
            <pc:sldMk cId="536835177" sldId="399"/>
            <ac:spMk id="26" creationId="{B6531463-F88B-4C4F-94CF-F5C2933A4FA3}"/>
          </ac:spMkLst>
        </pc:spChg>
        <pc:spChg chg="mod">
          <ac:chgData name="Vicky Zhu" userId="43b2fca5-5078-400e-a96a-6011ea3ac46d" providerId="ADAL" clId="{7289181A-5FA1-424C-B45C-C04993BD12F8}" dt="2022-08-30T14:46:43.696" v="4227" actId="13926"/>
          <ac:spMkLst>
            <pc:docMk/>
            <pc:sldMk cId="536835177" sldId="399"/>
            <ac:spMk id="27" creationId="{A4894423-A547-48F1-B0CC-EA65AAC8A25E}"/>
          </ac:spMkLst>
        </pc:spChg>
        <pc:spChg chg="add mod">
          <ac:chgData name="Vicky Zhu" userId="43b2fca5-5078-400e-a96a-6011ea3ac46d" providerId="ADAL" clId="{7289181A-5FA1-424C-B45C-C04993BD12F8}" dt="2022-08-30T14:36:52.583" v="4080" actId="1076"/>
          <ac:spMkLst>
            <pc:docMk/>
            <pc:sldMk cId="536835177" sldId="399"/>
            <ac:spMk id="28" creationId="{F83A2590-83CD-4F9F-A71B-4A7BC37F837A}"/>
          </ac:spMkLst>
        </pc:spChg>
        <pc:spChg chg="add mod">
          <ac:chgData name="Vicky Zhu" userId="43b2fca5-5078-400e-a96a-6011ea3ac46d" providerId="ADAL" clId="{7289181A-5FA1-424C-B45C-C04993BD12F8}" dt="2022-08-30T14:36:38.699" v="4078" actId="1076"/>
          <ac:spMkLst>
            <pc:docMk/>
            <pc:sldMk cId="536835177" sldId="399"/>
            <ac:spMk id="29" creationId="{132C2FFF-C661-43C3-9CD8-9833F875CBF9}"/>
          </ac:spMkLst>
        </pc:spChg>
        <pc:spChg chg="add mod">
          <ac:chgData name="Vicky Zhu" userId="43b2fca5-5078-400e-a96a-6011ea3ac46d" providerId="ADAL" clId="{7289181A-5FA1-424C-B45C-C04993BD12F8}" dt="2022-08-30T14:43:27.737" v="4187"/>
          <ac:spMkLst>
            <pc:docMk/>
            <pc:sldMk cId="536835177" sldId="399"/>
            <ac:spMk id="30" creationId="{680888C6-AE1E-4F57-AD62-3CE7E37467E3}"/>
          </ac:spMkLst>
        </pc:spChg>
        <pc:spChg chg="add mod">
          <ac:chgData name="Vicky Zhu" userId="43b2fca5-5078-400e-a96a-6011ea3ac46d" providerId="ADAL" clId="{7289181A-5FA1-424C-B45C-C04993BD12F8}" dt="2022-08-30T14:43:48.500" v="4192" actId="1076"/>
          <ac:spMkLst>
            <pc:docMk/>
            <pc:sldMk cId="536835177" sldId="399"/>
            <ac:spMk id="31" creationId="{8645DDAA-6F06-45A9-AE37-7176A7A721DA}"/>
          </ac:spMkLst>
        </pc:spChg>
        <pc:picChg chg="mod">
          <ac:chgData name="Vicky Zhu" userId="43b2fca5-5078-400e-a96a-6011ea3ac46d" providerId="ADAL" clId="{7289181A-5FA1-424C-B45C-C04993BD12F8}" dt="2022-08-30T14:43:39.976" v="4190" actId="14100"/>
          <ac:picMkLst>
            <pc:docMk/>
            <pc:sldMk cId="536835177" sldId="399"/>
            <ac:picMk id="1034" creationId="{9C9D007E-AF05-42D2-AAAC-F3BB41DDDABF}"/>
          </ac:picMkLst>
        </pc:picChg>
        <pc:picChg chg="mod">
          <ac:chgData name="Vicky Zhu" userId="43b2fca5-5078-400e-a96a-6011ea3ac46d" providerId="ADAL" clId="{7289181A-5FA1-424C-B45C-C04993BD12F8}" dt="2022-08-30T14:43:44.046" v="4191" actId="14100"/>
          <ac:picMkLst>
            <pc:docMk/>
            <pc:sldMk cId="536835177" sldId="399"/>
            <ac:picMk id="1036" creationId="{093FE128-1480-4190-B60E-711E97A45965}"/>
          </ac:picMkLst>
        </pc:picChg>
        <pc:picChg chg="mod">
          <ac:chgData name="Vicky Zhu" userId="43b2fca5-5078-400e-a96a-6011ea3ac46d" providerId="ADAL" clId="{7289181A-5FA1-424C-B45C-C04993BD12F8}" dt="2022-08-30T14:33:17.352" v="4037" actId="1076"/>
          <ac:picMkLst>
            <pc:docMk/>
            <pc:sldMk cId="536835177" sldId="399"/>
            <ac:picMk id="1038" creationId="{3F285E30-3189-44F1-9469-08CAF6A01A99}"/>
          </ac:picMkLst>
        </pc:picChg>
        <pc:picChg chg="mod">
          <ac:chgData name="Vicky Zhu" userId="43b2fca5-5078-400e-a96a-6011ea3ac46d" providerId="ADAL" clId="{7289181A-5FA1-424C-B45C-C04993BD12F8}" dt="2022-08-30T14:33:20.496" v="4038" actId="1076"/>
          <ac:picMkLst>
            <pc:docMk/>
            <pc:sldMk cId="536835177" sldId="399"/>
            <ac:picMk id="1043" creationId="{557780B8-A79C-4486-94C3-B96B17FC8461}"/>
          </ac:picMkLst>
        </pc:picChg>
        <pc:picChg chg="mod">
          <ac:chgData name="Vicky Zhu" userId="43b2fca5-5078-400e-a96a-6011ea3ac46d" providerId="ADAL" clId="{7289181A-5FA1-424C-B45C-C04993BD12F8}" dt="2022-08-30T14:33:22.629" v="4039" actId="1076"/>
          <ac:picMkLst>
            <pc:docMk/>
            <pc:sldMk cId="536835177" sldId="399"/>
            <ac:picMk id="1045" creationId="{0BDB71D1-62D6-4E9D-942E-97420AE88B0D}"/>
          </ac:picMkLst>
        </pc:picChg>
      </pc:sldChg>
      <pc:sldChg chg="addSp delSp modSp mod">
        <pc:chgData name="Vicky Zhu" userId="43b2fca5-5078-400e-a96a-6011ea3ac46d" providerId="ADAL" clId="{7289181A-5FA1-424C-B45C-C04993BD12F8}" dt="2022-08-30T14:43:06.808" v="4186" actId="20577"/>
        <pc:sldMkLst>
          <pc:docMk/>
          <pc:sldMk cId="1384986216" sldId="400"/>
        </pc:sldMkLst>
        <pc:spChg chg="del">
          <ac:chgData name="Vicky Zhu" userId="43b2fca5-5078-400e-a96a-6011ea3ac46d" providerId="ADAL" clId="{7289181A-5FA1-424C-B45C-C04993BD12F8}" dt="2022-08-24T23:47:10.887" v="2093" actId="478"/>
          <ac:spMkLst>
            <pc:docMk/>
            <pc:sldMk cId="1384986216" sldId="400"/>
            <ac:spMk id="2" creationId="{DFA53D4A-C878-4B4F-A190-CBC44CDE2065}"/>
          </ac:spMkLst>
        </pc:spChg>
        <pc:spChg chg="add del mod">
          <ac:chgData name="Vicky Zhu" userId="43b2fca5-5078-400e-a96a-6011ea3ac46d" providerId="ADAL" clId="{7289181A-5FA1-424C-B45C-C04993BD12F8}" dt="2022-08-24T23:47:15.061" v="2094" actId="478"/>
          <ac:spMkLst>
            <pc:docMk/>
            <pc:sldMk cId="1384986216" sldId="400"/>
            <ac:spMk id="7" creationId="{B8AD0847-E131-418C-8F12-BBE76F0471D1}"/>
          </ac:spMkLst>
        </pc:spChg>
        <pc:spChg chg="mod">
          <ac:chgData name="Vicky Zhu" userId="43b2fca5-5078-400e-a96a-6011ea3ac46d" providerId="ADAL" clId="{7289181A-5FA1-424C-B45C-C04993BD12F8}" dt="2022-08-30T14:35:07.231" v="4056" actId="1076"/>
          <ac:spMkLst>
            <pc:docMk/>
            <pc:sldMk cId="1384986216" sldId="400"/>
            <ac:spMk id="14" creationId="{C52E6EB1-19A8-463C-B41A-2B06FC800D8A}"/>
          </ac:spMkLst>
        </pc:spChg>
        <pc:spChg chg="add mod">
          <ac:chgData name="Vicky Zhu" userId="43b2fca5-5078-400e-a96a-6011ea3ac46d" providerId="ADAL" clId="{7289181A-5FA1-424C-B45C-C04993BD12F8}" dt="2022-08-30T14:34:55.208" v="4053" actId="1076"/>
          <ac:spMkLst>
            <pc:docMk/>
            <pc:sldMk cId="1384986216" sldId="400"/>
            <ac:spMk id="15" creationId="{F27C98BA-607A-430A-AF7D-7D180B23A609}"/>
          </ac:spMkLst>
        </pc:spChg>
        <pc:spChg chg="add mod">
          <ac:chgData name="Vicky Zhu" userId="43b2fca5-5078-400e-a96a-6011ea3ac46d" providerId="ADAL" clId="{7289181A-5FA1-424C-B45C-C04993BD12F8}" dt="2022-08-30T14:35:00.881" v="4055" actId="1076"/>
          <ac:spMkLst>
            <pc:docMk/>
            <pc:sldMk cId="1384986216" sldId="400"/>
            <ac:spMk id="16" creationId="{4F77A968-3621-44F8-9E25-17F229C60547}"/>
          </ac:spMkLst>
        </pc:spChg>
        <pc:spChg chg="add mod">
          <ac:chgData name="Vicky Zhu" userId="43b2fca5-5078-400e-a96a-6011ea3ac46d" providerId="ADAL" clId="{7289181A-5FA1-424C-B45C-C04993BD12F8}" dt="2022-08-30T14:35:34.682" v="4060" actId="1076"/>
          <ac:spMkLst>
            <pc:docMk/>
            <pc:sldMk cId="1384986216" sldId="400"/>
            <ac:spMk id="17" creationId="{73E7886F-4B73-454C-A93E-DF07F4010547}"/>
          </ac:spMkLst>
        </pc:spChg>
        <pc:spChg chg="add mod">
          <ac:chgData name="Vicky Zhu" userId="43b2fca5-5078-400e-a96a-6011ea3ac46d" providerId="ADAL" clId="{7289181A-5FA1-424C-B45C-C04993BD12F8}" dt="2022-08-30T14:35:40.199" v="4062" actId="1076"/>
          <ac:spMkLst>
            <pc:docMk/>
            <pc:sldMk cId="1384986216" sldId="400"/>
            <ac:spMk id="18" creationId="{B820FF3F-B6EC-4782-932C-454357FBA736}"/>
          </ac:spMkLst>
        </pc:spChg>
        <pc:spChg chg="mod">
          <ac:chgData name="Vicky Zhu" userId="43b2fca5-5078-400e-a96a-6011ea3ac46d" providerId="ADAL" clId="{7289181A-5FA1-424C-B45C-C04993BD12F8}" dt="2022-08-24T23:48:02.375" v="2113" actId="13926"/>
          <ac:spMkLst>
            <pc:docMk/>
            <pc:sldMk cId="1384986216" sldId="400"/>
            <ac:spMk id="21" creationId="{E05A39F2-2745-4C55-AD4E-F56000D69D66}"/>
          </ac:spMkLst>
        </pc:spChg>
        <pc:spChg chg="mod">
          <ac:chgData name="Vicky Zhu" userId="43b2fca5-5078-400e-a96a-6011ea3ac46d" providerId="ADAL" clId="{7289181A-5FA1-424C-B45C-C04993BD12F8}" dt="2022-08-30T14:36:04.858" v="4071" actId="13926"/>
          <ac:spMkLst>
            <pc:docMk/>
            <pc:sldMk cId="1384986216" sldId="400"/>
            <ac:spMk id="22" creationId="{2E274BB8-7EBC-46CB-984F-E62A82CEB27D}"/>
          </ac:spMkLst>
        </pc:spChg>
        <pc:spChg chg="mod">
          <ac:chgData name="Vicky Zhu" userId="43b2fca5-5078-400e-a96a-6011ea3ac46d" providerId="ADAL" clId="{7289181A-5FA1-424C-B45C-C04993BD12F8}" dt="2022-08-30T14:43:06.808" v="4186" actId="20577"/>
          <ac:spMkLst>
            <pc:docMk/>
            <pc:sldMk cId="1384986216" sldId="400"/>
            <ac:spMk id="24" creationId="{33D9699F-4710-4470-8D1B-386206FE7FC8}"/>
          </ac:spMkLst>
        </pc:spChg>
        <pc:spChg chg="mod">
          <ac:chgData name="Vicky Zhu" userId="43b2fca5-5078-400e-a96a-6011ea3ac46d" providerId="ADAL" clId="{7289181A-5FA1-424C-B45C-C04993BD12F8}" dt="2022-08-30T14:35:13.640" v="4057" actId="1076"/>
          <ac:spMkLst>
            <pc:docMk/>
            <pc:sldMk cId="1384986216" sldId="400"/>
            <ac:spMk id="27" creationId="{EECB825B-C795-4FEF-A305-62BA2A52BBB0}"/>
          </ac:spMkLst>
        </pc:spChg>
        <pc:graphicFrameChg chg="modGraphic">
          <ac:chgData name="Vicky Zhu" userId="43b2fca5-5078-400e-a96a-6011ea3ac46d" providerId="ADAL" clId="{7289181A-5FA1-424C-B45C-C04993BD12F8}" dt="2022-08-30T14:42:26.739" v="4126" actId="13926"/>
          <ac:graphicFrameMkLst>
            <pc:docMk/>
            <pc:sldMk cId="1384986216" sldId="400"/>
            <ac:graphicFrameMk id="9" creationId="{24A30E2C-6B8B-4461-9424-B092CA40AFF1}"/>
          </ac:graphicFrameMkLst>
        </pc:graphicFrameChg>
        <pc:graphicFrameChg chg="mod modGraphic">
          <ac:chgData name="Vicky Zhu" userId="43b2fca5-5078-400e-a96a-6011ea3ac46d" providerId="ADAL" clId="{7289181A-5FA1-424C-B45C-C04993BD12F8}" dt="2022-08-30T14:42:23.030" v="4125" actId="13926"/>
          <ac:graphicFrameMkLst>
            <pc:docMk/>
            <pc:sldMk cId="1384986216" sldId="400"/>
            <ac:graphicFrameMk id="25" creationId="{A0D92AFE-6925-473E-A9DB-BD0A852525EF}"/>
          </ac:graphicFrameMkLst>
        </pc:graphicFrameChg>
      </pc:sldChg>
      <pc:sldChg chg="mod modShow">
        <pc:chgData name="Vicky Zhu" userId="43b2fca5-5078-400e-a96a-6011ea3ac46d" providerId="ADAL" clId="{7289181A-5FA1-424C-B45C-C04993BD12F8}" dt="2022-08-24T23:10:15.959" v="465" actId="729"/>
        <pc:sldMkLst>
          <pc:docMk/>
          <pc:sldMk cId="135575933" sldId="402"/>
        </pc:sldMkLst>
      </pc:sldChg>
      <pc:sldChg chg="mod modShow">
        <pc:chgData name="Vicky Zhu" userId="43b2fca5-5078-400e-a96a-6011ea3ac46d" providerId="ADAL" clId="{7289181A-5FA1-424C-B45C-C04993BD12F8}" dt="2022-08-24T23:10:24.405" v="466" actId="729"/>
        <pc:sldMkLst>
          <pc:docMk/>
          <pc:sldMk cId="667586096" sldId="403"/>
        </pc:sldMkLst>
      </pc:sldChg>
      <pc:sldChg chg="addSp modSp mod modNotesTx">
        <pc:chgData name="Vicky Zhu" userId="43b2fca5-5078-400e-a96a-6011ea3ac46d" providerId="ADAL" clId="{7289181A-5FA1-424C-B45C-C04993BD12F8}" dt="2022-08-30T15:07:40.987" v="4608" actId="207"/>
        <pc:sldMkLst>
          <pc:docMk/>
          <pc:sldMk cId="2418961273" sldId="404"/>
        </pc:sldMkLst>
        <pc:spChg chg="mod">
          <ac:chgData name="Vicky Zhu" userId="43b2fca5-5078-400e-a96a-6011ea3ac46d" providerId="ADAL" clId="{7289181A-5FA1-424C-B45C-C04993BD12F8}" dt="2022-08-25T16:31:22.380" v="2729" actId="1076"/>
          <ac:spMkLst>
            <pc:docMk/>
            <pc:sldMk cId="2418961273" sldId="404"/>
            <ac:spMk id="2" creationId="{0513ED5F-0AE9-432E-8651-D17FFEBF27E3}"/>
          </ac:spMkLst>
        </pc:spChg>
        <pc:spChg chg="mod">
          <ac:chgData name="Vicky Zhu" userId="43b2fca5-5078-400e-a96a-6011ea3ac46d" providerId="ADAL" clId="{7289181A-5FA1-424C-B45C-C04993BD12F8}" dt="2022-08-30T15:07:40.987" v="4608" actId="207"/>
          <ac:spMkLst>
            <pc:docMk/>
            <pc:sldMk cId="2418961273" sldId="404"/>
            <ac:spMk id="6" creationId="{CEC1672D-9472-4C2B-A7CF-60E5AC92692B}"/>
          </ac:spMkLst>
        </pc:spChg>
        <pc:spChg chg="mod">
          <ac:chgData name="Vicky Zhu" userId="43b2fca5-5078-400e-a96a-6011ea3ac46d" providerId="ADAL" clId="{7289181A-5FA1-424C-B45C-C04993BD12F8}" dt="2022-08-30T15:05:38.635" v="4588" actId="1076"/>
          <ac:spMkLst>
            <pc:docMk/>
            <pc:sldMk cId="2418961273" sldId="404"/>
            <ac:spMk id="7" creationId="{4E56DA15-7419-481D-8F20-6849E22898FC}"/>
          </ac:spMkLst>
        </pc:spChg>
        <pc:spChg chg="mod">
          <ac:chgData name="Vicky Zhu" userId="43b2fca5-5078-400e-a96a-6011ea3ac46d" providerId="ADAL" clId="{7289181A-5FA1-424C-B45C-C04993BD12F8}" dt="2022-08-30T15:06:09.490" v="4596" actId="14100"/>
          <ac:spMkLst>
            <pc:docMk/>
            <pc:sldMk cId="2418961273" sldId="404"/>
            <ac:spMk id="8" creationId="{B0022307-D483-4820-A7C3-CDA6C5B64BA4}"/>
          </ac:spMkLst>
        </pc:spChg>
        <pc:picChg chg="add mod ord">
          <ac:chgData name="Vicky Zhu" userId="43b2fca5-5078-400e-a96a-6011ea3ac46d" providerId="ADAL" clId="{7289181A-5FA1-424C-B45C-C04993BD12F8}" dt="2022-08-30T15:07:31.057" v="4607" actId="14100"/>
          <ac:picMkLst>
            <pc:docMk/>
            <pc:sldMk cId="2418961273" sldId="404"/>
            <ac:picMk id="9" creationId="{81BD07EE-5179-4B84-B7A2-EC6E52646E61}"/>
          </ac:picMkLst>
        </pc:picChg>
      </pc:sldChg>
      <pc:sldChg chg="ord">
        <pc:chgData name="Vicky Zhu" userId="43b2fca5-5078-400e-a96a-6011ea3ac46d" providerId="ADAL" clId="{7289181A-5FA1-424C-B45C-C04993BD12F8}" dt="2022-08-30T15:06:27.873" v="4601"/>
        <pc:sldMkLst>
          <pc:docMk/>
          <pc:sldMk cId="2845235840" sldId="405"/>
        </pc:sldMkLst>
      </pc:sldChg>
      <pc:sldChg chg="mod ord modShow">
        <pc:chgData name="Vicky Zhu" userId="43b2fca5-5078-400e-a96a-6011ea3ac46d" providerId="ADAL" clId="{7289181A-5FA1-424C-B45C-C04993BD12F8}" dt="2022-08-30T15:06:52.821" v="4604" actId="729"/>
        <pc:sldMkLst>
          <pc:docMk/>
          <pc:sldMk cId="1731676378" sldId="406"/>
        </pc:sldMkLst>
      </pc:sldChg>
      <pc:sldChg chg="modSp mod">
        <pc:chgData name="Vicky Zhu" userId="43b2fca5-5078-400e-a96a-6011ea3ac46d" providerId="ADAL" clId="{7289181A-5FA1-424C-B45C-C04993BD12F8}" dt="2022-08-24T23:23:32.410" v="1365" actId="1076"/>
        <pc:sldMkLst>
          <pc:docMk/>
          <pc:sldMk cId="4106197653" sldId="407"/>
        </pc:sldMkLst>
        <pc:spChg chg="mod">
          <ac:chgData name="Vicky Zhu" userId="43b2fca5-5078-400e-a96a-6011ea3ac46d" providerId="ADAL" clId="{7289181A-5FA1-424C-B45C-C04993BD12F8}" dt="2022-08-24T23:23:32.410" v="1365" actId="1076"/>
          <ac:spMkLst>
            <pc:docMk/>
            <pc:sldMk cId="4106197653" sldId="407"/>
            <ac:spMk id="3" creationId="{054CCF0A-5607-4C00-B923-57C7100FE3E4}"/>
          </ac:spMkLst>
        </pc:spChg>
      </pc:sldChg>
      <pc:sldChg chg="addSp modSp mod">
        <pc:chgData name="Vicky Zhu" userId="43b2fca5-5078-400e-a96a-6011ea3ac46d" providerId="ADAL" clId="{7289181A-5FA1-424C-B45C-C04993BD12F8}" dt="2022-08-30T14:46:05.214" v="4224" actId="14100"/>
        <pc:sldMkLst>
          <pc:docMk/>
          <pc:sldMk cId="2355355860" sldId="411"/>
        </pc:sldMkLst>
        <pc:spChg chg="add mod">
          <ac:chgData name="Vicky Zhu" userId="43b2fca5-5078-400e-a96a-6011ea3ac46d" providerId="ADAL" clId="{7289181A-5FA1-424C-B45C-C04993BD12F8}" dt="2022-08-30T14:45:16.950" v="4215" actId="1076"/>
          <ac:spMkLst>
            <pc:docMk/>
            <pc:sldMk cId="2355355860" sldId="411"/>
            <ac:spMk id="6" creationId="{87AF0E81-680C-43D7-960B-8224A2470F1D}"/>
          </ac:spMkLst>
        </pc:spChg>
        <pc:spChg chg="mod">
          <ac:chgData name="Vicky Zhu" userId="43b2fca5-5078-400e-a96a-6011ea3ac46d" providerId="ADAL" clId="{7289181A-5FA1-424C-B45C-C04993BD12F8}" dt="2022-08-30T14:45:28.548" v="4220" actId="21"/>
          <ac:spMkLst>
            <pc:docMk/>
            <pc:sldMk cId="2355355860" sldId="411"/>
            <ac:spMk id="7" creationId="{779E5A08-1F0B-474A-AFB5-4E761B5DF328}"/>
          </ac:spMkLst>
        </pc:spChg>
        <pc:spChg chg="mod">
          <ac:chgData name="Vicky Zhu" userId="43b2fca5-5078-400e-a96a-6011ea3ac46d" providerId="ADAL" clId="{7289181A-5FA1-424C-B45C-C04993BD12F8}" dt="2022-08-30T14:45:10.628" v="4213" actId="1076"/>
          <ac:spMkLst>
            <pc:docMk/>
            <pc:sldMk cId="2355355860" sldId="411"/>
            <ac:spMk id="8" creationId="{7F2C3EE0-1707-464B-A13E-592180F4F07B}"/>
          </ac:spMkLst>
        </pc:spChg>
        <pc:spChg chg="add mod">
          <ac:chgData name="Vicky Zhu" userId="43b2fca5-5078-400e-a96a-6011ea3ac46d" providerId="ADAL" clId="{7289181A-5FA1-424C-B45C-C04993BD12F8}" dt="2022-08-30T14:46:05.214" v="4224" actId="14100"/>
          <ac:spMkLst>
            <pc:docMk/>
            <pc:sldMk cId="2355355860" sldId="411"/>
            <ac:spMk id="9" creationId="{19413C34-DBB0-477E-B78F-A00381E6C18C}"/>
          </ac:spMkLst>
        </pc:spChg>
        <pc:spChg chg="mod">
          <ac:chgData name="Vicky Zhu" userId="43b2fca5-5078-400e-a96a-6011ea3ac46d" providerId="ADAL" clId="{7289181A-5FA1-424C-B45C-C04993BD12F8}" dt="2022-08-30T14:44:44.246" v="4203" actId="21"/>
          <ac:spMkLst>
            <pc:docMk/>
            <pc:sldMk cId="2355355860" sldId="411"/>
            <ac:spMk id="12" creationId="{AAED4A48-47D3-4C83-8286-07CC57826B7D}"/>
          </ac:spMkLst>
        </pc:spChg>
        <pc:spChg chg="add mod">
          <ac:chgData name="Vicky Zhu" userId="43b2fca5-5078-400e-a96a-6011ea3ac46d" providerId="ADAL" clId="{7289181A-5FA1-424C-B45C-C04993BD12F8}" dt="2022-08-30T14:29:52.557" v="3953"/>
          <ac:spMkLst>
            <pc:docMk/>
            <pc:sldMk cId="2355355860" sldId="411"/>
            <ac:spMk id="19" creationId="{D2CC6A39-F90F-44C1-BBE4-3E10CA736AD2}"/>
          </ac:spMkLst>
        </pc:spChg>
        <pc:spChg chg="mod">
          <ac:chgData name="Vicky Zhu" userId="43b2fca5-5078-400e-a96a-6011ea3ac46d" providerId="ADAL" clId="{7289181A-5FA1-424C-B45C-C04993BD12F8}" dt="2022-08-30T14:45:18.961" v="4219" actId="20577"/>
          <ac:spMkLst>
            <pc:docMk/>
            <pc:sldMk cId="2355355860" sldId="411"/>
            <ac:spMk id="20" creationId="{289BE5C6-8A30-4A0E-B704-6CFFBFB18C72}"/>
          </ac:spMkLst>
        </pc:spChg>
        <pc:spChg chg="add mod">
          <ac:chgData name="Vicky Zhu" userId="43b2fca5-5078-400e-a96a-6011ea3ac46d" providerId="ADAL" clId="{7289181A-5FA1-424C-B45C-C04993BD12F8}" dt="2022-08-30T14:29:59.138" v="3955" actId="1076"/>
          <ac:spMkLst>
            <pc:docMk/>
            <pc:sldMk cId="2355355860" sldId="411"/>
            <ac:spMk id="21" creationId="{7CC97522-A1AA-4491-AF83-B45C25EDADBB}"/>
          </ac:spMkLst>
        </pc:spChg>
        <pc:spChg chg="add mod">
          <ac:chgData name="Vicky Zhu" userId="43b2fca5-5078-400e-a96a-6011ea3ac46d" providerId="ADAL" clId="{7289181A-5FA1-424C-B45C-C04993BD12F8}" dt="2022-08-30T14:30:08.841" v="3957" actId="1076"/>
          <ac:spMkLst>
            <pc:docMk/>
            <pc:sldMk cId="2355355860" sldId="411"/>
            <ac:spMk id="23" creationId="{6A6D8126-0160-46D4-9885-1D4AD2D03D47}"/>
          </ac:spMkLst>
        </pc:spChg>
        <pc:spChg chg="add mod">
          <ac:chgData name="Vicky Zhu" userId="43b2fca5-5078-400e-a96a-6011ea3ac46d" providerId="ADAL" clId="{7289181A-5FA1-424C-B45C-C04993BD12F8}" dt="2022-08-30T14:30:16.261" v="3959" actId="1076"/>
          <ac:spMkLst>
            <pc:docMk/>
            <pc:sldMk cId="2355355860" sldId="411"/>
            <ac:spMk id="24" creationId="{D63E4290-A8B6-495F-BFDB-6CD6A1B7966B}"/>
          </ac:spMkLst>
        </pc:spChg>
      </pc:sldChg>
      <pc:sldChg chg="addSp delSp modSp mod modShow">
        <pc:chgData name="Vicky Zhu" userId="43b2fca5-5078-400e-a96a-6011ea3ac46d" providerId="ADAL" clId="{7289181A-5FA1-424C-B45C-C04993BD12F8}" dt="2022-08-30T14:53:33.806" v="4265" actId="1076"/>
        <pc:sldMkLst>
          <pc:docMk/>
          <pc:sldMk cId="2099405890" sldId="412"/>
        </pc:sldMkLst>
        <pc:spChg chg="mod">
          <ac:chgData name="Vicky Zhu" userId="43b2fca5-5078-400e-a96a-6011ea3ac46d" providerId="ADAL" clId="{7289181A-5FA1-424C-B45C-C04993BD12F8}" dt="2022-08-30T14:53:33.806" v="4265" actId="1076"/>
          <ac:spMkLst>
            <pc:docMk/>
            <pc:sldMk cId="2099405890" sldId="412"/>
            <ac:spMk id="18" creationId="{6280AC70-28F2-4977-B2CB-41D479DB1A63}"/>
          </ac:spMkLst>
        </pc:spChg>
        <pc:spChg chg="add mod">
          <ac:chgData name="Vicky Zhu" userId="43b2fca5-5078-400e-a96a-6011ea3ac46d" providerId="ADAL" clId="{7289181A-5FA1-424C-B45C-C04993BD12F8}" dt="2022-08-30T14:30:36.733" v="3961"/>
          <ac:spMkLst>
            <pc:docMk/>
            <pc:sldMk cId="2099405890" sldId="412"/>
            <ac:spMk id="21" creationId="{9A04BE4B-9E57-46A2-87F0-B74FB5786795}"/>
          </ac:spMkLst>
        </pc:spChg>
        <pc:spChg chg="add del mod">
          <ac:chgData name="Vicky Zhu" userId="43b2fca5-5078-400e-a96a-6011ea3ac46d" providerId="ADAL" clId="{7289181A-5FA1-424C-B45C-C04993BD12F8}" dt="2022-08-30T14:30:41.324" v="3963"/>
          <ac:spMkLst>
            <pc:docMk/>
            <pc:sldMk cId="2099405890" sldId="412"/>
            <ac:spMk id="22" creationId="{3B3C10B5-2BC0-4B67-A145-71724A9D6CF7}"/>
          </ac:spMkLst>
        </pc:spChg>
        <pc:spChg chg="add mod">
          <ac:chgData name="Vicky Zhu" userId="43b2fca5-5078-400e-a96a-6011ea3ac46d" providerId="ADAL" clId="{7289181A-5FA1-424C-B45C-C04993BD12F8}" dt="2022-08-30T14:31:58.428" v="4023" actId="1076"/>
          <ac:spMkLst>
            <pc:docMk/>
            <pc:sldMk cId="2099405890" sldId="412"/>
            <ac:spMk id="23" creationId="{CAE7157F-300E-47C0-AAC1-4F8D8F808665}"/>
          </ac:spMkLst>
        </pc:spChg>
        <pc:spChg chg="add mod">
          <ac:chgData name="Vicky Zhu" userId="43b2fca5-5078-400e-a96a-6011ea3ac46d" providerId="ADAL" clId="{7289181A-5FA1-424C-B45C-C04993BD12F8}" dt="2022-08-30T14:33:50.666" v="4045" actId="1076"/>
          <ac:spMkLst>
            <pc:docMk/>
            <pc:sldMk cId="2099405890" sldId="412"/>
            <ac:spMk id="24" creationId="{E41740A4-DF6C-455B-A55D-588DB7C8D45F}"/>
          </ac:spMkLst>
        </pc:spChg>
        <pc:spChg chg="add mod">
          <ac:chgData name="Vicky Zhu" userId="43b2fca5-5078-400e-a96a-6011ea3ac46d" providerId="ADAL" clId="{7289181A-5FA1-424C-B45C-C04993BD12F8}" dt="2022-08-30T14:33:55.600" v="4046" actId="1076"/>
          <ac:spMkLst>
            <pc:docMk/>
            <pc:sldMk cId="2099405890" sldId="412"/>
            <ac:spMk id="26" creationId="{D1645FB7-F425-4AA1-A7C6-D0BC96901927}"/>
          </ac:spMkLst>
        </pc:spChg>
        <pc:spChg chg="mod">
          <ac:chgData name="Vicky Zhu" userId="43b2fca5-5078-400e-a96a-6011ea3ac46d" providerId="ADAL" clId="{7289181A-5FA1-424C-B45C-C04993BD12F8}" dt="2022-08-30T14:32:37.624" v="4032" actId="1076"/>
          <ac:spMkLst>
            <pc:docMk/>
            <pc:sldMk cId="2099405890" sldId="412"/>
            <ac:spMk id="27" creationId="{A4894423-A547-48F1-B0CC-EA65AAC8A25E}"/>
          </ac:spMkLst>
        </pc:spChg>
        <pc:spChg chg="add mod">
          <ac:chgData name="Vicky Zhu" userId="43b2fca5-5078-400e-a96a-6011ea3ac46d" providerId="ADAL" clId="{7289181A-5FA1-424C-B45C-C04993BD12F8}" dt="2022-08-30T14:31:42.143" v="4021"/>
          <ac:spMkLst>
            <pc:docMk/>
            <pc:sldMk cId="2099405890" sldId="412"/>
            <ac:spMk id="28" creationId="{C34345E9-234C-4F83-AECB-B059D8B40534}"/>
          </ac:spMkLst>
        </pc:spChg>
        <pc:spChg chg="add mod">
          <ac:chgData name="Vicky Zhu" userId="43b2fca5-5078-400e-a96a-6011ea3ac46d" providerId="ADAL" clId="{7289181A-5FA1-424C-B45C-C04993BD12F8}" dt="2022-08-30T14:35:21.782" v="4058" actId="1076"/>
          <ac:spMkLst>
            <pc:docMk/>
            <pc:sldMk cId="2099405890" sldId="412"/>
            <ac:spMk id="29" creationId="{D2605655-D2B8-4A41-81E3-2A2A13FAF803}"/>
          </ac:spMkLst>
        </pc:spChg>
        <pc:spChg chg="add mod">
          <ac:chgData name="Vicky Zhu" userId="43b2fca5-5078-400e-a96a-6011ea3ac46d" providerId="ADAL" clId="{7289181A-5FA1-424C-B45C-C04993BD12F8}" dt="2022-08-30T14:32:51.965" v="4036" actId="1076"/>
          <ac:spMkLst>
            <pc:docMk/>
            <pc:sldMk cId="2099405890" sldId="412"/>
            <ac:spMk id="30" creationId="{9EB88989-A8CF-4DCE-A952-A40A4D9B2D0B}"/>
          </ac:spMkLst>
        </pc:spChg>
        <pc:spChg chg="add mod">
          <ac:chgData name="Vicky Zhu" userId="43b2fca5-5078-400e-a96a-6011ea3ac46d" providerId="ADAL" clId="{7289181A-5FA1-424C-B45C-C04993BD12F8}" dt="2022-08-30T14:44:29.603" v="4201" actId="1076"/>
          <ac:spMkLst>
            <pc:docMk/>
            <pc:sldMk cId="2099405890" sldId="412"/>
            <ac:spMk id="31" creationId="{9D08807F-9F22-46F7-8088-A4D4964C2BC0}"/>
          </ac:spMkLst>
        </pc:spChg>
        <pc:spChg chg="add mod">
          <ac:chgData name="Vicky Zhu" userId="43b2fca5-5078-400e-a96a-6011ea3ac46d" providerId="ADAL" clId="{7289181A-5FA1-424C-B45C-C04993BD12F8}" dt="2022-08-30T14:44:15.032" v="4197" actId="1076"/>
          <ac:spMkLst>
            <pc:docMk/>
            <pc:sldMk cId="2099405890" sldId="412"/>
            <ac:spMk id="32" creationId="{BF646145-9BCF-4409-82AA-8EBC2C8FBD53}"/>
          </ac:spMkLst>
        </pc:spChg>
        <pc:picChg chg="mod">
          <ac:chgData name="Vicky Zhu" userId="43b2fca5-5078-400e-a96a-6011ea3ac46d" providerId="ADAL" clId="{7289181A-5FA1-424C-B45C-C04993BD12F8}" dt="2022-08-30T14:44:24.440" v="4200" actId="14100"/>
          <ac:picMkLst>
            <pc:docMk/>
            <pc:sldMk cId="2099405890" sldId="412"/>
            <ac:picMk id="4100" creationId="{7294BFDC-DE34-4D5D-B869-535580DD2926}"/>
          </ac:picMkLst>
        </pc:picChg>
        <pc:picChg chg="mod">
          <ac:chgData name="Vicky Zhu" userId="43b2fca5-5078-400e-a96a-6011ea3ac46d" providerId="ADAL" clId="{7289181A-5FA1-424C-B45C-C04993BD12F8}" dt="2022-08-30T14:44:33.827" v="4202" actId="1076"/>
          <ac:picMkLst>
            <pc:docMk/>
            <pc:sldMk cId="2099405890" sldId="412"/>
            <ac:picMk id="4102" creationId="{C8220CD2-410A-43F7-B7AB-A633DB6DB467}"/>
          </ac:picMkLst>
        </pc:picChg>
        <pc:picChg chg="mod">
          <ac:chgData name="Vicky Zhu" userId="43b2fca5-5078-400e-a96a-6011ea3ac46d" providerId="ADAL" clId="{7289181A-5FA1-424C-B45C-C04993BD12F8}" dt="2022-08-30T14:44:11.468" v="4196" actId="14100"/>
          <ac:picMkLst>
            <pc:docMk/>
            <pc:sldMk cId="2099405890" sldId="412"/>
            <ac:picMk id="4104" creationId="{6364E36F-951F-4490-9C4F-4918A689CECA}"/>
          </ac:picMkLst>
        </pc:picChg>
        <pc:picChg chg="mod">
          <ac:chgData name="Vicky Zhu" userId="43b2fca5-5078-400e-a96a-6011ea3ac46d" providerId="ADAL" clId="{7289181A-5FA1-424C-B45C-C04993BD12F8}" dt="2022-08-30T14:32:28.686" v="4031" actId="1076"/>
          <ac:picMkLst>
            <pc:docMk/>
            <pc:sldMk cId="2099405890" sldId="412"/>
            <ac:picMk id="4114" creationId="{857D0F42-EB5A-48E3-9ED5-3FA1DADDBAEB}"/>
          </ac:picMkLst>
        </pc:picChg>
        <pc:picChg chg="mod">
          <ac:chgData name="Vicky Zhu" userId="43b2fca5-5078-400e-a96a-6011ea3ac46d" providerId="ADAL" clId="{7289181A-5FA1-424C-B45C-C04993BD12F8}" dt="2022-08-30T14:32:09.482" v="4025" actId="14100"/>
          <ac:picMkLst>
            <pc:docMk/>
            <pc:sldMk cId="2099405890" sldId="412"/>
            <ac:picMk id="4116" creationId="{10BE08E4-598F-4324-AB19-1BA634EAB1C1}"/>
          </ac:picMkLst>
        </pc:picChg>
        <pc:picChg chg="mod">
          <ac:chgData name="Vicky Zhu" userId="43b2fca5-5078-400e-a96a-6011ea3ac46d" providerId="ADAL" clId="{7289181A-5FA1-424C-B45C-C04993BD12F8}" dt="2022-08-30T14:31:39.568" v="4020" actId="1076"/>
          <ac:picMkLst>
            <pc:docMk/>
            <pc:sldMk cId="2099405890" sldId="412"/>
            <ac:picMk id="4118" creationId="{62C6C7AE-3E64-4F12-9FFA-75B189067E7E}"/>
          </ac:picMkLst>
        </pc:picChg>
      </pc:sldChg>
      <pc:sldChg chg="addSp modSp mod modNotesTx">
        <pc:chgData name="Vicky Zhu" userId="43b2fca5-5078-400e-a96a-6011ea3ac46d" providerId="ADAL" clId="{7289181A-5FA1-424C-B45C-C04993BD12F8}" dt="2022-08-30T14:47:18.724" v="4229" actId="13926"/>
        <pc:sldMkLst>
          <pc:docMk/>
          <pc:sldMk cId="3733816966" sldId="413"/>
        </pc:sldMkLst>
        <pc:spChg chg="mod">
          <ac:chgData name="Vicky Zhu" userId="43b2fca5-5078-400e-a96a-6011ea3ac46d" providerId="ADAL" clId="{7289181A-5FA1-424C-B45C-C04993BD12F8}" dt="2022-08-25T17:52:01.980" v="3898" actId="20577"/>
          <ac:spMkLst>
            <pc:docMk/>
            <pc:sldMk cId="3733816966" sldId="413"/>
            <ac:spMk id="2" creationId="{DFA53D4A-C878-4B4F-A190-CBC44CDE2065}"/>
          </ac:spMkLst>
        </pc:spChg>
        <pc:spChg chg="mod">
          <ac:chgData name="Vicky Zhu" userId="43b2fca5-5078-400e-a96a-6011ea3ac46d" providerId="ADAL" clId="{7289181A-5FA1-424C-B45C-C04993BD12F8}" dt="2022-08-30T14:47:12.881" v="4228" actId="13926"/>
          <ac:spMkLst>
            <pc:docMk/>
            <pc:sldMk cId="3733816966" sldId="413"/>
            <ac:spMk id="14" creationId="{C52E6EB1-19A8-463C-B41A-2B06FC800D8A}"/>
          </ac:spMkLst>
        </pc:spChg>
        <pc:spChg chg="add mod">
          <ac:chgData name="Vicky Zhu" userId="43b2fca5-5078-400e-a96a-6011ea3ac46d" providerId="ADAL" clId="{7289181A-5FA1-424C-B45C-C04993BD12F8}" dt="2022-08-30T14:34:22.980" v="4049" actId="1076"/>
          <ac:spMkLst>
            <pc:docMk/>
            <pc:sldMk cId="3733816966" sldId="413"/>
            <ac:spMk id="16" creationId="{86399145-F2A2-44A8-8A7F-38C4D8383E67}"/>
          </ac:spMkLst>
        </pc:spChg>
        <pc:spChg chg="add mod">
          <ac:chgData name="Vicky Zhu" userId="43b2fca5-5078-400e-a96a-6011ea3ac46d" providerId="ADAL" clId="{7289181A-5FA1-424C-B45C-C04993BD12F8}" dt="2022-08-30T14:34:27.799" v="4051" actId="1076"/>
          <ac:spMkLst>
            <pc:docMk/>
            <pc:sldMk cId="3733816966" sldId="413"/>
            <ac:spMk id="17" creationId="{2A12445C-6147-41FF-A8A8-6CF76DF19AAB}"/>
          </ac:spMkLst>
        </pc:spChg>
        <pc:spChg chg="add mod">
          <ac:chgData name="Vicky Zhu" userId="43b2fca5-5078-400e-a96a-6011ea3ac46d" providerId="ADAL" clId="{7289181A-5FA1-424C-B45C-C04993BD12F8}" dt="2022-08-30T14:41:55.591" v="4122" actId="1076"/>
          <ac:spMkLst>
            <pc:docMk/>
            <pc:sldMk cId="3733816966" sldId="413"/>
            <ac:spMk id="18" creationId="{084FE426-1D80-47D9-9AC8-8BF045E44E46}"/>
          </ac:spMkLst>
        </pc:spChg>
        <pc:spChg chg="add mod">
          <ac:chgData name="Vicky Zhu" userId="43b2fca5-5078-400e-a96a-6011ea3ac46d" providerId="ADAL" clId="{7289181A-5FA1-424C-B45C-C04993BD12F8}" dt="2022-08-30T14:40:49.281" v="4084" actId="1076"/>
          <ac:spMkLst>
            <pc:docMk/>
            <pc:sldMk cId="3733816966" sldId="413"/>
            <ac:spMk id="19" creationId="{5A52B6ED-41F1-4AFE-A73D-2863A91806F7}"/>
          </ac:spMkLst>
        </pc:spChg>
        <pc:spChg chg="mod">
          <ac:chgData name="Vicky Zhu" userId="43b2fca5-5078-400e-a96a-6011ea3ac46d" providerId="ADAL" clId="{7289181A-5FA1-424C-B45C-C04993BD12F8}" dt="2022-08-30T14:41:23.130" v="4119" actId="14100"/>
          <ac:spMkLst>
            <pc:docMk/>
            <pc:sldMk cId="3733816966" sldId="413"/>
            <ac:spMk id="22" creationId="{2E274BB8-7EBC-46CB-984F-E62A82CEB27D}"/>
          </ac:spMkLst>
        </pc:spChg>
        <pc:spChg chg="mod">
          <ac:chgData name="Vicky Zhu" userId="43b2fca5-5078-400e-a96a-6011ea3ac46d" providerId="ADAL" clId="{7289181A-5FA1-424C-B45C-C04993BD12F8}" dt="2022-08-25T17:51:35.553" v="3865" actId="5793"/>
          <ac:spMkLst>
            <pc:docMk/>
            <pc:sldMk cId="3733816966" sldId="413"/>
            <ac:spMk id="24" creationId="{33D9699F-4710-4470-8D1B-386206FE7FC8}"/>
          </ac:spMkLst>
        </pc:spChg>
        <pc:spChg chg="mod">
          <ac:chgData name="Vicky Zhu" userId="43b2fca5-5078-400e-a96a-6011ea3ac46d" providerId="ADAL" clId="{7289181A-5FA1-424C-B45C-C04993BD12F8}" dt="2022-08-30T14:47:18.724" v="4229" actId="13926"/>
          <ac:spMkLst>
            <pc:docMk/>
            <pc:sldMk cId="3733816966" sldId="413"/>
            <ac:spMk id="27" creationId="{EECB825B-C795-4FEF-A305-62BA2A52BBB0}"/>
          </ac:spMkLst>
        </pc:spChg>
        <pc:graphicFrameChg chg="modGraphic">
          <ac:chgData name="Vicky Zhu" userId="43b2fca5-5078-400e-a96a-6011ea3ac46d" providerId="ADAL" clId="{7289181A-5FA1-424C-B45C-C04993BD12F8}" dt="2022-08-30T14:42:16.251" v="4124" actId="13926"/>
          <ac:graphicFrameMkLst>
            <pc:docMk/>
            <pc:sldMk cId="3733816966" sldId="413"/>
            <ac:graphicFrameMk id="9" creationId="{24A30E2C-6B8B-4461-9424-B092CA40AFF1}"/>
          </ac:graphicFrameMkLst>
        </pc:graphicFrameChg>
        <pc:graphicFrameChg chg="modGraphic">
          <ac:chgData name="Vicky Zhu" userId="43b2fca5-5078-400e-a96a-6011ea3ac46d" providerId="ADAL" clId="{7289181A-5FA1-424C-B45C-C04993BD12F8}" dt="2022-08-30T14:42:11.162" v="4123" actId="13926"/>
          <ac:graphicFrameMkLst>
            <pc:docMk/>
            <pc:sldMk cId="3733816966" sldId="413"/>
            <ac:graphicFrameMk id="25" creationId="{A0D92AFE-6925-473E-A9DB-BD0A852525EF}"/>
          </ac:graphicFrameMkLst>
        </pc:graphicFrameChg>
      </pc:sldChg>
      <pc:sldChg chg="addSp modSp mod modShow">
        <pc:chgData name="Vicky Zhu" userId="43b2fca5-5078-400e-a96a-6011ea3ac46d" providerId="ADAL" clId="{7289181A-5FA1-424C-B45C-C04993BD12F8}" dt="2022-08-30T14:57:17.682" v="4322" actId="1076"/>
        <pc:sldMkLst>
          <pc:docMk/>
          <pc:sldMk cId="2592186186" sldId="414"/>
        </pc:sldMkLst>
        <pc:spChg chg="mod">
          <ac:chgData name="Vicky Zhu" userId="43b2fca5-5078-400e-a96a-6011ea3ac46d" providerId="ADAL" clId="{7289181A-5FA1-424C-B45C-C04993BD12F8}" dt="2022-08-30T14:55:34.675" v="4292" actId="207"/>
          <ac:spMkLst>
            <pc:docMk/>
            <pc:sldMk cId="2592186186" sldId="414"/>
            <ac:spMk id="2" creationId="{DFA53D4A-C878-4B4F-A190-CBC44CDE2065}"/>
          </ac:spMkLst>
        </pc:spChg>
        <pc:spChg chg="mod">
          <ac:chgData name="Vicky Zhu" userId="43b2fca5-5078-400e-a96a-6011ea3ac46d" providerId="ADAL" clId="{7289181A-5FA1-424C-B45C-C04993BD12F8}" dt="2022-08-30T14:55:58.060" v="4296" actId="20577"/>
          <ac:spMkLst>
            <pc:docMk/>
            <pc:sldMk cId="2592186186" sldId="414"/>
            <ac:spMk id="8" creationId="{7F2C3EE0-1707-464B-A13E-592180F4F07B}"/>
          </ac:spMkLst>
        </pc:spChg>
        <pc:spChg chg="mod">
          <ac:chgData name="Vicky Zhu" userId="43b2fca5-5078-400e-a96a-6011ea3ac46d" providerId="ADAL" clId="{7289181A-5FA1-424C-B45C-C04993BD12F8}" dt="2022-08-30T14:56:02.589" v="4303" actId="5793"/>
          <ac:spMkLst>
            <pc:docMk/>
            <pc:sldMk cId="2592186186" sldId="414"/>
            <ac:spMk id="19" creationId="{7B8A2C46-16ED-4BAB-A09A-5FFE62BAA3DA}"/>
          </ac:spMkLst>
        </pc:spChg>
        <pc:spChg chg="add mod">
          <ac:chgData name="Vicky Zhu" userId="43b2fca5-5078-400e-a96a-6011ea3ac46d" providerId="ADAL" clId="{7289181A-5FA1-424C-B45C-C04993BD12F8}" dt="2022-08-30T14:56:33.743" v="4312" actId="1076"/>
          <ac:spMkLst>
            <pc:docMk/>
            <pc:sldMk cId="2592186186" sldId="414"/>
            <ac:spMk id="20" creationId="{50C15C45-270A-4F2F-A110-E1A427F840E0}"/>
          </ac:spMkLst>
        </pc:spChg>
        <pc:spChg chg="add mod">
          <ac:chgData name="Vicky Zhu" userId="43b2fca5-5078-400e-a96a-6011ea3ac46d" providerId="ADAL" clId="{7289181A-5FA1-424C-B45C-C04993BD12F8}" dt="2022-08-30T14:56:22.653" v="4309" actId="1076"/>
          <ac:spMkLst>
            <pc:docMk/>
            <pc:sldMk cId="2592186186" sldId="414"/>
            <ac:spMk id="22" creationId="{5BFEAE34-B1AA-4298-B235-ED874550D53E}"/>
          </ac:spMkLst>
        </pc:spChg>
        <pc:spChg chg="add mod">
          <ac:chgData name="Vicky Zhu" userId="43b2fca5-5078-400e-a96a-6011ea3ac46d" providerId="ADAL" clId="{7289181A-5FA1-424C-B45C-C04993BD12F8}" dt="2022-08-30T14:57:17.682" v="4322" actId="1076"/>
          <ac:spMkLst>
            <pc:docMk/>
            <pc:sldMk cId="2592186186" sldId="414"/>
            <ac:spMk id="23" creationId="{D43240F7-67AA-4506-A011-B4CBC5405711}"/>
          </ac:spMkLst>
        </pc:spChg>
        <pc:spChg chg="add mod">
          <ac:chgData name="Vicky Zhu" userId="43b2fca5-5078-400e-a96a-6011ea3ac46d" providerId="ADAL" clId="{7289181A-5FA1-424C-B45C-C04993BD12F8}" dt="2022-08-30T14:56:15.909" v="4308" actId="1076"/>
          <ac:spMkLst>
            <pc:docMk/>
            <pc:sldMk cId="2592186186" sldId="414"/>
            <ac:spMk id="24" creationId="{AAA680C0-FF38-455F-9907-08AB102DAF7E}"/>
          </ac:spMkLst>
        </pc:spChg>
        <pc:picChg chg="mod">
          <ac:chgData name="Vicky Zhu" userId="43b2fca5-5078-400e-a96a-6011ea3ac46d" providerId="ADAL" clId="{7289181A-5FA1-424C-B45C-C04993BD12F8}" dt="2022-08-30T14:57:11.093" v="4320" actId="14100"/>
          <ac:picMkLst>
            <pc:docMk/>
            <pc:sldMk cId="2592186186" sldId="414"/>
            <ac:picMk id="6148" creationId="{19D432B4-A555-4CA3-A0D3-A4A8F7160893}"/>
          </ac:picMkLst>
        </pc:picChg>
        <pc:picChg chg="mod">
          <ac:chgData name="Vicky Zhu" userId="43b2fca5-5078-400e-a96a-6011ea3ac46d" providerId="ADAL" clId="{7289181A-5FA1-424C-B45C-C04993BD12F8}" dt="2022-08-30T14:56:58.931" v="4317" actId="14100"/>
          <ac:picMkLst>
            <pc:docMk/>
            <pc:sldMk cId="2592186186" sldId="414"/>
            <ac:picMk id="6152" creationId="{98D12777-C491-4BBD-BC6C-98B89885D61D}"/>
          </ac:picMkLst>
        </pc:picChg>
        <pc:picChg chg="mod">
          <ac:chgData name="Vicky Zhu" userId="43b2fca5-5078-400e-a96a-6011ea3ac46d" providerId="ADAL" clId="{7289181A-5FA1-424C-B45C-C04993BD12F8}" dt="2022-08-30T14:57:15.021" v="4321" actId="1076"/>
          <ac:picMkLst>
            <pc:docMk/>
            <pc:sldMk cId="2592186186" sldId="414"/>
            <ac:picMk id="6154" creationId="{0C4A6DA5-1E36-4EEE-8D2A-90AB5C67DB0D}"/>
          </ac:picMkLst>
        </pc:picChg>
      </pc:sldChg>
      <pc:sldChg chg="addSp delSp modSp mod modShow">
        <pc:chgData name="Vicky Zhu" userId="43b2fca5-5078-400e-a96a-6011ea3ac46d" providerId="ADAL" clId="{7289181A-5FA1-424C-B45C-C04993BD12F8}" dt="2022-08-30T14:53:23.022" v="4264" actId="1076"/>
        <pc:sldMkLst>
          <pc:docMk/>
          <pc:sldMk cId="1088994712" sldId="415"/>
        </pc:sldMkLst>
        <pc:spChg chg="del">
          <ac:chgData name="Vicky Zhu" userId="43b2fca5-5078-400e-a96a-6011ea3ac46d" providerId="ADAL" clId="{7289181A-5FA1-424C-B45C-C04993BD12F8}" dt="2022-08-24T23:49:52.217" v="2125" actId="478"/>
          <ac:spMkLst>
            <pc:docMk/>
            <pc:sldMk cId="1088994712" sldId="415"/>
            <ac:spMk id="2" creationId="{48C75561-6334-476D-9124-96441C666A04}"/>
          </ac:spMkLst>
        </pc:spChg>
        <pc:spChg chg="add del mod">
          <ac:chgData name="Vicky Zhu" userId="43b2fca5-5078-400e-a96a-6011ea3ac46d" providerId="ADAL" clId="{7289181A-5FA1-424C-B45C-C04993BD12F8}" dt="2022-08-24T23:49:54.690" v="2126" actId="478"/>
          <ac:spMkLst>
            <pc:docMk/>
            <pc:sldMk cId="1088994712" sldId="415"/>
            <ac:spMk id="10" creationId="{ABC004A6-19B6-4BA5-BBBF-BC20A9C2C6B5}"/>
          </ac:spMkLst>
        </pc:spChg>
        <pc:spChg chg="mod">
          <ac:chgData name="Vicky Zhu" userId="43b2fca5-5078-400e-a96a-6011ea3ac46d" providerId="ADAL" clId="{7289181A-5FA1-424C-B45C-C04993BD12F8}" dt="2022-08-30T14:53:23.022" v="4264" actId="1076"/>
          <ac:spMkLst>
            <pc:docMk/>
            <pc:sldMk cId="1088994712" sldId="415"/>
            <ac:spMk id="18" creationId="{6280AC70-28F2-4977-B2CB-41D479DB1A63}"/>
          </ac:spMkLst>
        </pc:spChg>
        <pc:spChg chg="add del">
          <ac:chgData name="Vicky Zhu" userId="43b2fca5-5078-400e-a96a-6011ea3ac46d" providerId="ADAL" clId="{7289181A-5FA1-424C-B45C-C04993BD12F8}" dt="2022-08-30T14:50:52.794" v="4231" actId="22"/>
          <ac:spMkLst>
            <pc:docMk/>
            <pc:sldMk cId="1088994712" sldId="415"/>
            <ac:spMk id="19" creationId="{DC7227AD-A432-4C10-AE65-9744B96DFF1C}"/>
          </ac:spMkLst>
        </pc:spChg>
        <pc:spChg chg="add mod">
          <ac:chgData name="Vicky Zhu" userId="43b2fca5-5078-400e-a96a-6011ea3ac46d" providerId="ADAL" clId="{7289181A-5FA1-424C-B45C-C04993BD12F8}" dt="2022-08-30T14:51:07.936" v="4232"/>
          <ac:spMkLst>
            <pc:docMk/>
            <pc:sldMk cId="1088994712" sldId="415"/>
            <ac:spMk id="21" creationId="{309B120B-0DE1-403E-8461-49EA6BEAB6F6}"/>
          </ac:spMkLst>
        </pc:spChg>
        <pc:spChg chg="add mod">
          <ac:chgData name="Vicky Zhu" userId="43b2fca5-5078-400e-a96a-6011ea3ac46d" providerId="ADAL" clId="{7289181A-5FA1-424C-B45C-C04993BD12F8}" dt="2022-08-30T14:51:15.656" v="4234" actId="1076"/>
          <ac:spMkLst>
            <pc:docMk/>
            <pc:sldMk cId="1088994712" sldId="415"/>
            <ac:spMk id="22" creationId="{FC813DC2-D1E4-4F42-9D90-65EA3130C14A}"/>
          </ac:spMkLst>
        </pc:spChg>
        <pc:spChg chg="add del mod">
          <ac:chgData name="Vicky Zhu" userId="43b2fca5-5078-400e-a96a-6011ea3ac46d" providerId="ADAL" clId="{7289181A-5FA1-424C-B45C-C04993BD12F8}" dt="2022-08-30T14:51:19.345" v="4238"/>
          <ac:spMkLst>
            <pc:docMk/>
            <pc:sldMk cId="1088994712" sldId="415"/>
            <ac:spMk id="24" creationId="{6F0E9C35-9DCD-4D8B-A6A2-8BD191B943F7}"/>
          </ac:spMkLst>
        </pc:spChg>
        <pc:spChg chg="add del mod">
          <ac:chgData name="Vicky Zhu" userId="43b2fca5-5078-400e-a96a-6011ea3ac46d" providerId="ADAL" clId="{7289181A-5FA1-424C-B45C-C04993BD12F8}" dt="2022-08-30T14:51:18.980" v="4237"/>
          <ac:spMkLst>
            <pc:docMk/>
            <pc:sldMk cId="1088994712" sldId="415"/>
            <ac:spMk id="25" creationId="{D01108B9-902C-4CCB-AFA1-F749D75CD52C}"/>
          </ac:spMkLst>
        </pc:spChg>
        <pc:spChg chg="add mod">
          <ac:chgData name="Vicky Zhu" userId="43b2fca5-5078-400e-a96a-6011ea3ac46d" providerId="ADAL" clId="{7289181A-5FA1-424C-B45C-C04993BD12F8}" dt="2022-08-30T14:51:36.349" v="4240" actId="1076"/>
          <ac:spMkLst>
            <pc:docMk/>
            <pc:sldMk cId="1088994712" sldId="415"/>
            <ac:spMk id="26" creationId="{E2060A2E-3AF4-4647-85CE-50A7E60521B3}"/>
          </ac:spMkLst>
        </pc:spChg>
        <pc:spChg chg="mod">
          <ac:chgData name="Vicky Zhu" userId="43b2fca5-5078-400e-a96a-6011ea3ac46d" providerId="ADAL" clId="{7289181A-5FA1-424C-B45C-C04993BD12F8}" dt="2022-08-30T14:51:52.898" v="4243" actId="20577"/>
          <ac:spMkLst>
            <pc:docMk/>
            <pc:sldMk cId="1088994712" sldId="415"/>
            <ac:spMk id="27" creationId="{A4894423-A547-48F1-B0CC-EA65AAC8A25E}"/>
          </ac:spMkLst>
        </pc:spChg>
        <pc:spChg chg="add mod">
          <ac:chgData name="Vicky Zhu" userId="43b2fca5-5078-400e-a96a-6011ea3ac46d" providerId="ADAL" clId="{7289181A-5FA1-424C-B45C-C04993BD12F8}" dt="2022-08-30T14:51:48.004" v="4242" actId="1076"/>
          <ac:spMkLst>
            <pc:docMk/>
            <pc:sldMk cId="1088994712" sldId="415"/>
            <ac:spMk id="28" creationId="{F3C915C1-9792-48A2-80EA-830E13D15949}"/>
          </ac:spMkLst>
        </pc:spChg>
        <pc:spChg chg="add mod">
          <ac:chgData name="Vicky Zhu" userId="43b2fca5-5078-400e-a96a-6011ea3ac46d" providerId="ADAL" clId="{7289181A-5FA1-424C-B45C-C04993BD12F8}" dt="2022-08-30T14:53:11.410" v="4261" actId="1076"/>
          <ac:spMkLst>
            <pc:docMk/>
            <pc:sldMk cId="1088994712" sldId="415"/>
            <ac:spMk id="29" creationId="{17FD5C85-82DB-405C-B09D-C0818E4D812F}"/>
          </ac:spMkLst>
        </pc:spChg>
        <pc:spChg chg="add mod">
          <ac:chgData name="Vicky Zhu" userId="43b2fca5-5078-400e-a96a-6011ea3ac46d" providerId="ADAL" clId="{7289181A-5FA1-424C-B45C-C04993BD12F8}" dt="2022-08-30T14:53:17.006" v="4263" actId="1076"/>
          <ac:spMkLst>
            <pc:docMk/>
            <pc:sldMk cId="1088994712" sldId="415"/>
            <ac:spMk id="30" creationId="{2AF68E8A-B9CE-4FFD-A1DB-97EBEB9EB0E3}"/>
          </ac:spMkLst>
        </pc:spChg>
        <pc:picChg chg="mod">
          <ac:chgData name="Vicky Zhu" userId="43b2fca5-5078-400e-a96a-6011ea3ac46d" providerId="ADAL" clId="{7289181A-5FA1-424C-B45C-C04993BD12F8}" dt="2022-08-30T14:52:36.916" v="4254" actId="1076"/>
          <ac:picMkLst>
            <pc:docMk/>
            <pc:sldMk cId="1088994712" sldId="415"/>
            <ac:picMk id="10242" creationId="{98C51FB8-E91B-4715-9583-C16F667E9C5C}"/>
          </ac:picMkLst>
        </pc:picChg>
        <pc:picChg chg="mod">
          <ac:chgData name="Vicky Zhu" userId="43b2fca5-5078-400e-a96a-6011ea3ac46d" providerId="ADAL" clId="{7289181A-5FA1-424C-B45C-C04993BD12F8}" dt="2022-08-30T14:52:48.953" v="4256" actId="14100"/>
          <ac:picMkLst>
            <pc:docMk/>
            <pc:sldMk cId="1088994712" sldId="415"/>
            <ac:picMk id="10244" creationId="{37E31099-C89B-4DDE-BC80-FBE6BF20E7BD}"/>
          </ac:picMkLst>
        </pc:picChg>
        <pc:picChg chg="mod">
          <ac:chgData name="Vicky Zhu" userId="43b2fca5-5078-400e-a96a-6011ea3ac46d" providerId="ADAL" clId="{7289181A-5FA1-424C-B45C-C04993BD12F8}" dt="2022-08-30T14:52:30.888" v="4252" actId="14100"/>
          <ac:picMkLst>
            <pc:docMk/>
            <pc:sldMk cId="1088994712" sldId="415"/>
            <ac:picMk id="10246" creationId="{66923B18-2BA6-4AFF-A990-B12F711FC97D}"/>
          </ac:picMkLst>
        </pc:picChg>
        <pc:picChg chg="mod">
          <ac:chgData name="Vicky Zhu" userId="43b2fca5-5078-400e-a96a-6011ea3ac46d" providerId="ADAL" clId="{7289181A-5FA1-424C-B45C-C04993BD12F8}" dt="2022-08-30T14:52:56.272" v="4259" actId="1076"/>
          <ac:picMkLst>
            <pc:docMk/>
            <pc:sldMk cId="1088994712" sldId="415"/>
            <ac:picMk id="10248" creationId="{D74C178D-B7AF-493E-876F-A90660E2880A}"/>
          </ac:picMkLst>
        </pc:picChg>
      </pc:sldChg>
      <pc:sldChg chg="addSp delSp modSp mod">
        <pc:chgData name="Vicky Zhu" userId="43b2fca5-5078-400e-a96a-6011ea3ac46d" providerId="ADAL" clId="{7289181A-5FA1-424C-B45C-C04993BD12F8}" dt="2022-09-03T02:35:30.292" v="5622" actId="13926"/>
        <pc:sldMkLst>
          <pc:docMk/>
          <pc:sldMk cId="3784647805" sldId="416"/>
        </pc:sldMkLst>
        <pc:spChg chg="add mod">
          <ac:chgData name="Vicky Zhu" userId="43b2fca5-5078-400e-a96a-6011ea3ac46d" providerId="ADAL" clId="{7289181A-5FA1-424C-B45C-C04993BD12F8}" dt="2022-08-30T14:52:14.847" v="4248" actId="1076"/>
          <ac:spMkLst>
            <pc:docMk/>
            <pc:sldMk cId="3784647805" sldId="416"/>
            <ac:spMk id="15" creationId="{7FFEE7DA-37FA-4DA4-8F2F-FB2C3A30F459}"/>
          </ac:spMkLst>
        </pc:spChg>
        <pc:spChg chg="add mod">
          <ac:chgData name="Vicky Zhu" userId="43b2fca5-5078-400e-a96a-6011ea3ac46d" providerId="ADAL" clId="{7289181A-5FA1-424C-B45C-C04993BD12F8}" dt="2022-08-30T14:52:06.604" v="4246" actId="1076"/>
          <ac:spMkLst>
            <pc:docMk/>
            <pc:sldMk cId="3784647805" sldId="416"/>
            <ac:spMk id="16" creationId="{9AD89A7D-D2EC-42CD-AAAA-C158AD0E8D37}"/>
          </ac:spMkLst>
        </pc:spChg>
        <pc:spChg chg="add mod">
          <ac:chgData name="Vicky Zhu" userId="43b2fca5-5078-400e-a96a-6011ea3ac46d" providerId="ADAL" clId="{7289181A-5FA1-424C-B45C-C04993BD12F8}" dt="2022-08-30T14:54:23.653" v="4283" actId="1076"/>
          <ac:spMkLst>
            <pc:docMk/>
            <pc:sldMk cId="3784647805" sldId="416"/>
            <ac:spMk id="17" creationId="{9E6B67DA-869C-4F70-938C-49D5562C7AD3}"/>
          </ac:spMkLst>
        </pc:spChg>
        <pc:spChg chg="add mod">
          <ac:chgData name="Vicky Zhu" userId="43b2fca5-5078-400e-a96a-6011ea3ac46d" providerId="ADAL" clId="{7289181A-5FA1-424C-B45C-C04993BD12F8}" dt="2022-08-30T14:54:20.573" v="4282" actId="1076"/>
          <ac:spMkLst>
            <pc:docMk/>
            <pc:sldMk cId="3784647805" sldId="416"/>
            <ac:spMk id="18" creationId="{CDABAB03-4F25-4CFC-B77B-FC2BABD290DB}"/>
          </ac:spMkLst>
        </pc:spChg>
        <pc:spChg chg="mod">
          <ac:chgData name="Vicky Zhu" userId="43b2fca5-5078-400e-a96a-6011ea3ac46d" providerId="ADAL" clId="{7289181A-5FA1-424C-B45C-C04993BD12F8}" dt="2022-08-30T14:54:33.553" v="4290" actId="20577"/>
          <ac:spMkLst>
            <pc:docMk/>
            <pc:sldMk cId="3784647805" sldId="416"/>
            <ac:spMk id="22" creationId="{2E274BB8-7EBC-46CB-984F-E62A82CEB27D}"/>
          </ac:spMkLst>
        </pc:spChg>
        <pc:spChg chg="mod">
          <ac:chgData name="Vicky Zhu" userId="43b2fca5-5078-400e-a96a-6011ea3ac46d" providerId="ADAL" clId="{7289181A-5FA1-424C-B45C-C04993BD12F8}" dt="2022-08-30T14:54:29.720" v="4284" actId="1076"/>
          <ac:spMkLst>
            <pc:docMk/>
            <pc:sldMk cId="3784647805" sldId="416"/>
            <ac:spMk id="24" creationId="{33D9699F-4710-4470-8D1B-386206FE7FC8}"/>
          </ac:spMkLst>
        </pc:spChg>
        <pc:spChg chg="mod">
          <ac:chgData name="Vicky Zhu" userId="43b2fca5-5078-400e-a96a-6011ea3ac46d" providerId="ADAL" clId="{7289181A-5FA1-424C-B45C-C04993BD12F8}" dt="2022-09-03T02:18:14.837" v="5231" actId="20577"/>
          <ac:spMkLst>
            <pc:docMk/>
            <pc:sldMk cId="3784647805" sldId="416"/>
            <ac:spMk id="27" creationId="{EECB825B-C795-4FEF-A305-62BA2A52BBB0}"/>
          </ac:spMkLst>
        </pc:spChg>
        <pc:graphicFrameChg chg="mod modGraphic">
          <ac:chgData name="Vicky Zhu" userId="43b2fca5-5078-400e-a96a-6011ea3ac46d" providerId="ADAL" clId="{7289181A-5FA1-424C-B45C-C04993BD12F8}" dt="2022-09-03T02:35:30.292" v="5622" actId="13926"/>
          <ac:graphicFrameMkLst>
            <pc:docMk/>
            <pc:sldMk cId="3784647805" sldId="416"/>
            <ac:graphicFrameMk id="9" creationId="{24A30E2C-6B8B-4461-9424-B092CA40AFF1}"/>
          </ac:graphicFrameMkLst>
        </pc:graphicFrameChg>
        <pc:graphicFrameChg chg="mod modGraphic">
          <ac:chgData name="Vicky Zhu" userId="43b2fca5-5078-400e-a96a-6011ea3ac46d" providerId="ADAL" clId="{7289181A-5FA1-424C-B45C-C04993BD12F8}" dt="2022-09-03T02:33:12.148" v="5569" actId="13926"/>
          <ac:graphicFrameMkLst>
            <pc:docMk/>
            <pc:sldMk cId="3784647805" sldId="416"/>
            <ac:graphicFrameMk id="25" creationId="{A0D92AFE-6925-473E-A9DB-BD0A852525EF}"/>
          </ac:graphicFrameMkLst>
        </pc:graphicFrameChg>
        <pc:picChg chg="add mod">
          <ac:chgData name="Vicky Zhu" userId="43b2fca5-5078-400e-a96a-6011ea3ac46d" providerId="ADAL" clId="{7289181A-5FA1-424C-B45C-C04993BD12F8}" dt="2022-09-03T02:17:30.719" v="5213" actId="14100"/>
          <ac:picMkLst>
            <pc:docMk/>
            <pc:sldMk cId="3784647805" sldId="416"/>
            <ac:picMk id="19" creationId="{5545F5A7-C68F-44FF-B6CF-6C0F6DBEC856}"/>
          </ac:picMkLst>
        </pc:picChg>
        <pc:picChg chg="add mod">
          <ac:chgData name="Vicky Zhu" userId="43b2fca5-5078-400e-a96a-6011ea3ac46d" providerId="ADAL" clId="{7289181A-5FA1-424C-B45C-C04993BD12F8}" dt="2022-09-03T02:17:55.415" v="5218" actId="1076"/>
          <ac:picMkLst>
            <pc:docMk/>
            <pc:sldMk cId="3784647805" sldId="416"/>
            <ac:picMk id="20" creationId="{A5A365D8-8FF2-4E36-9C4E-386910044F70}"/>
          </ac:picMkLst>
        </pc:picChg>
        <pc:picChg chg="del">
          <ac:chgData name="Vicky Zhu" userId="43b2fca5-5078-400e-a96a-6011ea3ac46d" providerId="ADAL" clId="{7289181A-5FA1-424C-B45C-C04993BD12F8}" dt="2022-09-03T02:17:03.005" v="5208" actId="478"/>
          <ac:picMkLst>
            <pc:docMk/>
            <pc:sldMk cId="3784647805" sldId="416"/>
            <ac:picMk id="9218" creationId="{13A621DD-37D0-4CDC-8434-24418F084FD3}"/>
          </ac:picMkLst>
        </pc:picChg>
        <pc:picChg chg="del">
          <ac:chgData name="Vicky Zhu" userId="43b2fca5-5078-400e-a96a-6011ea3ac46d" providerId="ADAL" clId="{7289181A-5FA1-424C-B45C-C04993BD12F8}" dt="2022-09-03T02:17:47.768" v="5214" actId="478"/>
          <ac:picMkLst>
            <pc:docMk/>
            <pc:sldMk cId="3784647805" sldId="416"/>
            <ac:picMk id="9220" creationId="{5CB3AC08-90FC-4E5C-9982-301E39DA1340}"/>
          </ac:picMkLst>
        </pc:picChg>
      </pc:sldChg>
      <pc:sldChg chg="addSp delSp modSp new mod modAnim modNotesTx">
        <pc:chgData name="Vicky Zhu" userId="43b2fca5-5078-400e-a96a-6011ea3ac46d" providerId="ADAL" clId="{7289181A-5FA1-424C-B45C-C04993BD12F8}" dt="2022-08-30T15:19:59.196" v="4817" actId="1076"/>
        <pc:sldMkLst>
          <pc:docMk/>
          <pc:sldMk cId="51969678" sldId="417"/>
        </pc:sldMkLst>
        <pc:spChg chg="mod">
          <ac:chgData name="Vicky Zhu" userId="43b2fca5-5078-400e-a96a-6011ea3ac46d" providerId="ADAL" clId="{7289181A-5FA1-424C-B45C-C04993BD12F8}" dt="2022-08-25T16:37:59.302" v="2779" actId="20577"/>
          <ac:spMkLst>
            <pc:docMk/>
            <pc:sldMk cId="51969678" sldId="417"/>
            <ac:spMk id="2" creationId="{E2B19966-7D66-452E-9522-EF81D618E1C9}"/>
          </ac:spMkLst>
        </pc:spChg>
        <pc:spChg chg="mod">
          <ac:chgData name="Vicky Zhu" userId="43b2fca5-5078-400e-a96a-6011ea3ac46d" providerId="ADAL" clId="{7289181A-5FA1-424C-B45C-C04993BD12F8}" dt="2022-08-24T23:14:20.523" v="553" actId="20577"/>
          <ac:spMkLst>
            <pc:docMk/>
            <pc:sldMk cId="51969678" sldId="417"/>
            <ac:spMk id="3" creationId="{6192B6FF-F70F-40FE-A0BA-8CE0583DBB41}"/>
          </ac:spMkLst>
        </pc:spChg>
        <pc:spChg chg="add mod">
          <ac:chgData name="Vicky Zhu" userId="43b2fca5-5078-400e-a96a-6011ea3ac46d" providerId="ADAL" clId="{7289181A-5FA1-424C-B45C-C04993BD12F8}" dt="2022-08-30T15:15:42.386" v="4674" actId="1076"/>
          <ac:spMkLst>
            <pc:docMk/>
            <pc:sldMk cId="51969678" sldId="417"/>
            <ac:spMk id="6" creationId="{59D52B2B-BED2-4A42-AF04-02244BF9200E}"/>
          </ac:spMkLst>
        </pc:spChg>
        <pc:spChg chg="add mod">
          <ac:chgData name="Vicky Zhu" userId="43b2fca5-5078-400e-a96a-6011ea3ac46d" providerId="ADAL" clId="{7289181A-5FA1-424C-B45C-C04993BD12F8}" dt="2022-08-30T15:17:48.012" v="4691" actId="1076"/>
          <ac:spMkLst>
            <pc:docMk/>
            <pc:sldMk cId="51969678" sldId="417"/>
            <ac:spMk id="10" creationId="{459F598A-C3C7-4B11-8B0A-FA207DF73E36}"/>
          </ac:spMkLst>
        </pc:spChg>
        <pc:spChg chg="add mod">
          <ac:chgData name="Vicky Zhu" userId="43b2fca5-5078-400e-a96a-6011ea3ac46d" providerId="ADAL" clId="{7289181A-5FA1-424C-B45C-C04993BD12F8}" dt="2022-08-30T15:17:54.552" v="4693" actId="1076"/>
          <ac:spMkLst>
            <pc:docMk/>
            <pc:sldMk cId="51969678" sldId="417"/>
            <ac:spMk id="11" creationId="{609DFF70-FB3C-4751-A902-8FEB49157E2C}"/>
          </ac:spMkLst>
        </pc:spChg>
        <pc:spChg chg="add mod">
          <ac:chgData name="Vicky Zhu" userId="43b2fca5-5078-400e-a96a-6011ea3ac46d" providerId="ADAL" clId="{7289181A-5FA1-424C-B45C-C04993BD12F8}" dt="2022-08-30T15:18:43.283" v="4806" actId="207"/>
          <ac:spMkLst>
            <pc:docMk/>
            <pc:sldMk cId="51969678" sldId="417"/>
            <ac:spMk id="12" creationId="{D8E36866-7709-45A1-9510-1682C3321289}"/>
          </ac:spMkLst>
        </pc:spChg>
        <pc:spChg chg="add mod">
          <ac:chgData name="Vicky Zhu" userId="43b2fca5-5078-400e-a96a-6011ea3ac46d" providerId="ADAL" clId="{7289181A-5FA1-424C-B45C-C04993BD12F8}" dt="2022-08-30T15:19:53.659" v="4815" actId="1076"/>
          <ac:spMkLst>
            <pc:docMk/>
            <pc:sldMk cId="51969678" sldId="417"/>
            <ac:spMk id="13" creationId="{8E2928E5-5686-4720-A7BA-196CA16FBB45}"/>
          </ac:spMkLst>
        </pc:spChg>
        <pc:spChg chg="add mod">
          <ac:chgData name="Vicky Zhu" userId="43b2fca5-5078-400e-a96a-6011ea3ac46d" providerId="ADAL" clId="{7289181A-5FA1-424C-B45C-C04993BD12F8}" dt="2022-08-30T15:19:59.196" v="4817" actId="1076"/>
          <ac:spMkLst>
            <pc:docMk/>
            <pc:sldMk cId="51969678" sldId="417"/>
            <ac:spMk id="14" creationId="{59079E5E-E494-4490-B1EA-D3272A2E1B13}"/>
          </ac:spMkLst>
        </pc:spChg>
        <pc:picChg chg="add del mod">
          <ac:chgData name="Vicky Zhu" userId="43b2fca5-5078-400e-a96a-6011ea3ac46d" providerId="ADAL" clId="{7289181A-5FA1-424C-B45C-C04993BD12F8}" dt="2022-08-30T15:15:19.208" v="4670"/>
          <ac:picMkLst>
            <pc:docMk/>
            <pc:sldMk cId="51969678" sldId="417"/>
            <ac:picMk id="1026" creationId="{84D4ABB8-26C1-43ED-8E34-F8F29B09587A}"/>
          </ac:picMkLst>
        </pc:picChg>
        <pc:picChg chg="add mod">
          <ac:chgData name="Vicky Zhu" userId="43b2fca5-5078-400e-a96a-6011ea3ac46d" providerId="ADAL" clId="{7289181A-5FA1-424C-B45C-C04993BD12F8}" dt="2022-08-30T15:17:42.561" v="4689" actId="1076"/>
          <ac:picMkLst>
            <pc:docMk/>
            <pc:sldMk cId="51969678" sldId="417"/>
            <ac:picMk id="1028" creationId="{8407D66F-3B12-44EA-B29D-9FE39A0A5950}"/>
          </ac:picMkLst>
        </pc:picChg>
        <pc:picChg chg="add mod">
          <ac:chgData name="Vicky Zhu" userId="43b2fca5-5078-400e-a96a-6011ea3ac46d" providerId="ADAL" clId="{7289181A-5FA1-424C-B45C-C04993BD12F8}" dt="2022-08-30T15:17:49.683" v="4692" actId="1076"/>
          <ac:picMkLst>
            <pc:docMk/>
            <pc:sldMk cId="51969678" sldId="417"/>
            <ac:picMk id="1030" creationId="{E0B7A803-B65C-462E-A532-DCF249E9A069}"/>
          </ac:picMkLst>
        </pc:picChg>
      </pc:sldChg>
      <pc:sldChg chg="addSp delSp modSp new mod ord modNotesTx">
        <pc:chgData name="Vicky Zhu" userId="43b2fca5-5078-400e-a96a-6011ea3ac46d" providerId="ADAL" clId="{7289181A-5FA1-424C-B45C-C04993BD12F8}" dt="2022-09-02T06:23:56.772" v="5207" actId="1076"/>
        <pc:sldMkLst>
          <pc:docMk/>
          <pc:sldMk cId="2126311099" sldId="418"/>
        </pc:sldMkLst>
        <pc:spChg chg="mod">
          <ac:chgData name="Vicky Zhu" userId="43b2fca5-5078-400e-a96a-6011ea3ac46d" providerId="ADAL" clId="{7289181A-5FA1-424C-B45C-C04993BD12F8}" dt="2022-08-25T16:56:59.612" v="2878" actId="20577"/>
          <ac:spMkLst>
            <pc:docMk/>
            <pc:sldMk cId="2126311099" sldId="418"/>
            <ac:spMk id="2" creationId="{05B74DC7-357E-46FC-AC9E-FAC7A039C408}"/>
          </ac:spMkLst>
        </pc:spChg>
        <pc:spChg chg="mod">
          <ac:chgData name="Vicky Zhu" userId="43b2fca5-5078-400e-a96a-6011ea3ac46d" providerId="ADAL" clId="{7289181A-5FA1-424C-B45C-C04993BD12F8}" dt="2022-08-24T23:25:04.709" v="1406" actId="20577"/>
          <ac:spMkLst>
            <pc:docMk/>
            <pc:sldMk cId="2126311099" sldId="418"/>
            <ac:spMk id="3" creationId="{D71C4048-DE27-4720-BFE7-B449D85EF82E}"/>
          </ac:spMkLst>
        </pc:spChg>
        <pc:spChg chg="del">
          <ac:chgData name="Vicky Zhu" userId="43b2fca5-5078-400e-a96a-6011ea3ac46d" providerId="ADAL" clId="{7289181A-5FA1-424C-B45C-C04993BD12F8}" dt="2022-08-24T23:29:06.572" v="1456" actId="478"/>
          <ac:spMkLst>
            <pc:docMk/>
            <pc:sldMk cId="2126311099" sldId="418"/>
            <ac:spMk id="6" creationId="{24990DBE-026C-4DC9-8BFB-F4FE55FB36BE}"/>
          </ac:spMkLst>
        </pc:spChg>
        <pc:spChg chg="add mod">
          <ac:chgData name="Vicky Zhu" userId="43b2fca5-5078-400e-a96a-6011ea3ac46d" providerId="ADAL" clId="{7289181A-5FA1-424C-B45C-C04993BD12F8}" dt="2022-08-24T23:28:54.255" v="1437" actId="767"/>
          <ac:spMkLst>
            <pc:docMk/>
            <pc:sldMk cId="2126311099" sldId="418"/>
            <ac:spMk id="7" creationId="{0A018453-9A6E-44CE-BA9F-E8E333E96C1E}"/>
          </ac:spMkLst>
        </pc:spChg>
        <pc:spChg chg="add mod ord">
          <ac:chgData name="Vicky Zhu" userId="43b2fca5-5078-400e-a96a-6011ea3ac46d" providerId="ADAL" clId="{7289181A-5FA1-424C-B45C-C04993BD12F8}" dt="2022-08-24T23:36:47.526" v="1818" actId="13926"/>
          <ac:spMkLst>
            <pc:docMk/>
            <pc:sldMk cId="2126311099" sldId="418"/>
            <ac:spMk id="8" creationId="{D1EA69E0-1661-4D17-89AB-4C555994E724}"/>
          </ac:spMkLst>
        </pc:spChg>
        <pc:spChg chg="add mod">
          <ac:chgData name="Vicky Zhu" userId="43b2fca5-5078-400e-a96a-6011ea3ac46d" providerId="ADAL" clId="{7289181A-5FA1-424C-B45C-C04993BD12F8}" dt="2022-08-24T23:45:35.547" v="2088" actId="14100"/>
          <ac:spMkLst>
            <pc:docMk/>
            <pc:sldMk cId="2126311099" sldId="418"/>
            <ac:spMk id="9" creationId="{C62A0DFD-164E-4A97-9193-0F2F2850A77E}"/>
          </ac:spMkLst>
        </pc:spChg>
        <pc:spChg chg="add mod">
          <ac:chgData name="Vicky Zhu" userId="43b2fca5-5078-400e-a96a-6011ea3ac46d" providerId="ADAL" clId="{7289181A-5FA1-424C-B45C-C04993BD12F8}" dt="2022-08-24T23:33:48.963" v="1760" actId="1076"/>
          <ac:spMkLst>
            <pc:docMk/>
            <pc:sldMk cId="2126311099" sldId="418"/>
            <ac:spMk id="10" creationId="{ABA60C0A-25A8-42C0-85E4-136E8C5B0407}"/>
          </ac:spMkLst>
        </pc:spChg>
        <pc:spChg chg="add mod ord">
          <ac:chgData name="Vicky Zhu" userId="43b2fca5-5078-400e-a96a-6011ea3ac46d" providerId="ADAL" clId="{7289181A-5FA1-424C-B45C-C04993BD12F8}" dt="2022-08-24T23:45:16.939" v="2083" actId="14100"/>
          <ac:spMkLst>
            <pc:docMk/>
            <pc:sldMk cId="2126311099" sldId="418"/>
            <ac:spMk id="11" creationId="{BCDA540A-D56E-4249-91C4-65EAB63C90D1}"/>
          </ac:spMkLst>
        </pc:spChg>
        <pc:spChg chg="add mod">
          <ac:chgData name="Vicky Zhu" userId="43b2fca5-5078-400e-a96a-6011ea3ac46d" providerId="ADAL" clId="{7289181A-5FA1-424C-B45C-C04993BD12F8}" dt="2022-08-24T23:43:56.272" v="2033" actId="20577"/>
          <ac:spMkLst>
            <pc:docMk/>
            <pc:sldMk cId="2126311099" sldId="418"/>
            <ac:spMk id="12" creationId="{A8A3BA6C-C748-478E-9CAD-83CC0A15BBAF}"/>
          </ac:spMkLst>
        </pc:spChg>
        <pc:spChg chg="add mod">
          <ac:chgData name="Vicky Zhu" userId="43b2fca5-5078-400e-a96a-6011ea3ac46d" providerId="ADAL" clId="{7289181A-5FA1-424C-B45C-C04993BD12F8}" dt="2022-08-24T23:33:09.494" v="1576" actId="1076"/>
          <ac:spMkLst>
            <pc:docMk/>
            <pc:sldMk cId="2126311099" sldId="418"/>
            <ac:spMk id="13" creationId="{C1CBF18B-9EE6-4CE4-9091-22BAB60A54BE}"/>
          </ac:spMkLst>
        </pc:spChg>
        <pc:spChg chg="add mod">
          <ac:chgData name="Vicky Zhu" userId="43b2fca5-5078-400e-a96a-6011ea3ac46d" providerId="ADAL" clId="{7289181A-5FA1-424C-B45C-C04993BD12F8}" dt="2022-08-24T23:33:25.505" v="1666" actId="1035"/>
          <ac:spMkLst>
            <pc:docMk/>
            <pc:sldMk cId="2126311099" sldId="418"/>
            <ac:spMk id="14" creationId="{8C0D6CAF-CBB1-4B01-808E-B981B2EADAEF}"/>
          </ac:spMkLst>
        </pc:spChg>
        <pc:spChg chg="add mod ord">
          <ac:chgData name="Vicky Zhu" userId="43b2fca5-5078-400e-a96a-6011ea3ac46d" providerId="ADAL" clId="{7289181A-5FA1-424C-B45C-C04993BD12F8}" dt="2022-08-24T23:36:51.118" v="1819" actId="13926"/>
          <ac:spMkLst>
            <pc:docMk/>
            <pc:sldMk cId="2126311099" sldId="418"/>
            <ac:spMk id="15" creationId="{3521F7BD-ADFA-4591-8500-86694DC7AB43}"/>
          </ac:spMkLst>
        </pc:spChg>
        <pc:spChg chg="add mod">
          <ac:chgData name="Vicky Zhu" userId="43b2fca5-5078-400e-a96a-6011ea3ac46d" providerId="ADAL" clId="{7289181A-5FA1-424C-B45C-C04993BD12F8}" dt="2022-08-24T23:33:43.485" v="1759" actId="1076"/>
          <ac:spMkLst>
            <pc:docMk/>
            <pc:sldMk cId="2126311099" sldId="418"/>
            <ac:spMk id="16" creationId="{05FCF95F-4735-42A9-9435-F59236022932}"/>
          </ac:spMkLst>
        </pc:spChg>
        <pc:spChg chg="add mod ord">
          <ac:chgData name="Vicky Zhu" userId="43b2fca5-5078-400e-a96a-6011ea3ac46d" providerId="ADAL" clId="{7289181A-5FA1-424C-B45C-C04993BD12F8}" dt="2022-08-24T23:45:25.092" v="2085" actId="1076"/>
          <ac:spMkLst>
            <pc:docMk/>
            <pc:sldMk cId="2126311099" sldId="418"/>
            <ac:spMk id="17" creationId="{6E8A1D92-4572-4E0B-882E-EE383041D629}"/>
          </ac:spMkLst>
        </pc:spChg>
        <pc:spChg chg="add mod">
          <ac:chgData name="Vicky Zhu" userId="43b2fca5-5078-400e-a96a-6011ea3ac46d" providerId="ADAL" clId="{7289181A-5FA1-424C-B45C-C04993BD12F8}" dt="2022-08-31T16:46:42.609" v="5070" actId="1038"/>
          <ac:spMkLst>
            <pc:docMk/>
            <pc:sldMk cId="2126311099" sldId="418"/>
            <ac:spMk id="24" creationId="{A10FD306-3830-4343-913C-6A59CF9FB2F0}"/>
          </ac:spMkLst>
        </pc:spChg>
        <pc:spChg chg="add mod">
          <ac:chgData name="Vicky Zhu" userId="43b2fca5-5078-400e-a96a-6011ea3ac46d" providerId="ADAL" clId="{7289181A-5FA1-424C-B45C-C04993BD12F8}" dt="2022-08-24T23:43:19.598" v="2027" actId="20577"/>
          <ac:spMkLst>
            <pc:docMk/>
            <pc:sldMk cId="2126311099" sldId="418"/>
            <ac:spMk id="26" creationId="{E326235E-3EFD-493D-A3B4-CDAE76EAD5D3}"/>
          </ac:spMkLst>
        </pc:spChg>
        <pc:spChg chg="add mod">
          <ac:chgData name="Vicky Zhu" userId="43b2fca5-5078-400e-a96a-6011ea3ac46d" providerId="ADAL" clId="{7289181A-5FA1-424C-B45C-C04993BD12F8}" dt="2022-08-31T16:45:45.591" v="5062" actId="20577"/>
          <ac:spMkLst>
            <pc:docMk/>
            <pc:sldMk cId="2126311099" sldId="418"/>
            <ac:spMk id="27" creationId="{5E7C4DB9-1345-4251-81AB-6B5980327DD1}"/>
          </ac:spMkLst>
        </pc:spChg>
        <pc:spChg chg="add mod">
          <ac:chgData name="Vicky Zhu" userId="43b2fca5-5078-400e-a96a-6011ea3ac46d" providerId="ADAL" clId="{7289181A-5FA1-424C-B45C-C04993BD12F8}" dt="2022-08-24T23:45:39.622" v="2089" actId="1076"/>
          <ac:spMkLst>
            <pc:docMk/>
            <pc:sldMk cId="2126311099" sldId="418"/>
            <ac:spMk id="28" creationId="{BF0AA0EE-0831-4C38-AC90-C21EE88D3C48}"/>
          </ac:spMkLst>
        </pc:spChg>
        <pc:spChg chg="add del mod">
          <ac:chgData name="Vicky Zhu" userId="43b2fca5-5078-400e-a96a-6011ea3ac46d" providerId="ADAL" clId="{7289181A-5FA1-424C-B45C-C04993BD12F8}" dt="2022-08-31T16:46:32.450" v="5067"/>
          <ac:spMkLst>
            <pc:docMk/>
            <pc:sldMk cId="2126311099" sldId="418"/>
            <ac:spMk id="29" creationId="{3F1E4C21-34FF-494D-BFBB-87FC8E3AC82D}"/>
          </ac:spMkLst>
        </pc:spChg>
        <pc:spChg chg="add mod">
          <ac:chgData name="Vicky Zhu" userId="43b2fca5-5078-400e-a96a-6011ea3ac46d" providerId="ADAL" clId="{7289181A-5FA1-424C-B45C-C04993BD12F8}" dt="2022-08-31T16:48:23.159" v="5118" actId="1037"/>
          <ac:spMkLst>
            <pc:docMk/>
            <pc:sldMk cId="2126311099" sldId="418"/>
            <ac:spMk id="30" creationId="{5844276C-41E1-4CF3-B31A-5190FC481A6C}"/>
          </ac:spMkLst>
        </pc:spChg>
        <pc:spChg chg="add mod">
          <ac:chgData name="Vicky Zhu" userId="43b2fca5-5078-400e-a96a-6011ea3ac46d" providerId="ADAL" clId="{7289181A-5FA1-424C-B45C-C04993BD12F8}" dt="2022-08-31T16:48:39.231" v="5201" actId="1037"/>
          <ac:spMkLst>
            <pc:docMk/>
            <pc:sldMk cId="2126311099" sldId="418"/>
            <ac:spMk id="31" creationId="{938C1283-420A-440C-A8D2-364D60F85CC5}"/>
          </ac:spMkLst>
        </pc:spChg>
        <pc:spChg chg="add mod">
          <ac:chgData name="Vicky Zhu" userId="43b2fca5-5078-400e-a96a-6011ea3ac46d" providerId="ADAL" clId="{7289181A-5FA1-424C-B45C-C04993BD12F8}" dt="2022-09-02T06:23:56.772" v="5207" actId="1076"/>
          <ac:spMkLst>
            <pc:docMk/>
            <pc:sldMk cId="2126311099" sldId="418"/>
            <ac:spMk id="32" creationId="{176C4AAD-B3EB-4453-B14B-5B737D42771C}"/>
          </ac:spMkLst>
        </pc:spChg>
        <pc:picChg chg="add del mod">
          <ac:chgData name="Vicky Zhu" userId="43b2fca5-5078-400e-a96a-6011ea3ac46d" providerId="ADAL" clId="{7289181A-5FA1-424C-B45C-C04993BD12F8}" dt="2022-08-24T23:36:22.390" v="1812" actId="21"/>
          <ac:picMkLst>
            <pc:docMk/>
            <pc:sldMk cId="2126311099" sldId="418"/>
            <ac:picMk id="19" creationId="{9F575006-C876-4926-B9A3-42337823270D}"/>
          </ac:picMkLst>
        </pc:picChg>
        <pc:picChg chg="add mod">
          <ac:chgData name="Vicky Zhu" userId="43b2fca5-5078-400e-a96a-6011ea3ac46d" providerId="ADAL" clId="{7289181A-5FA1-424C-B45C-C04993BD12F8}" dt="2022-08-24T23:37:47.208" v="1827" actId="1076"/>
          <ac:picMkLst>
            <pc:docMk/>
            <pc:sldMk cId="2126311099" sldId="418"/>
            <ac:picMk id="21" creationId="{6ABEB7D2-82BE-4E64-B99C-B4D0CA32532C}"/>
          </ac:picMkLst>
        </pc:picChg>
        <pc:picChg chg="add mod">
          <ac:chgData name="Vicky Zhu" userId="43b2fca5-5078-400e-a96a-6011ea3ac46d" providerId="ADAL" clId="{7289181A-5FA1-424C-B45C-C04993BD12F8}" dt="2022-08-31T16:48:29.869" v="5121" actId="1076"/>
          <ac:picMkLst>
            <pc:docMk/>
            <pc:sldMk cId="2126311099" sldId="418"/>
            <ac:picMk id="23" creationId="{D3267B06-6652-4653-A103-3BFB0C3AF80D}"/>
          </ac:picMkLst>
        </pc:picChg>
        <pc:picChg chg="add mod">
          <ac:chgData name="Vicky Zhu" userId="43b2fca5-5078-400e-a96a-6011ea3ac46d" providerId="ADAL" clId="{7289181A-5FA1-424C-B45C-C04993BD12F8}" dt="2022-08-24T23:38:53.406" v="1834" actId="1076"/>
          <ac:picMkLst>
            <pc:docMk/>
            <pc:sldMk cId="2126311099" sldId="418"/>
            <ac:picMk id="25" creationId="{665E4FD0-1A46-42BD-A23C-4C9197E76546}"/>
          </ac:picMkLst>
        </pc:picChg>
      </pc:sldChg>
      <pc:sldChg chg="new del">
        <pc:chgData name="Vicky Zhu" userId="43b2fca5-5078-400e-a96a-6011ea3ac46d" providerId="ADAL" clId="{7289181A-5FA1-424C-B45C-C04993BD12F8}" dt="2022-08-24T23:24:36.073" v="1369" actId="2696"/>
        <pc:sldMkLst>
          <pc:docMk/>
          <pc:sldMk cId="3668475330" sldId="418"/>
        </pc:sldMkLst>
      </pc:sldChg>
      <pc:sldChg chg="modSp new del mod">
        <pc:chgData name="Vicky Zhu" userId="43b2fca5-5078-400e-a96a-6011ea3ac46d" providerId="ADAL" clId="{7289181A-5FA1-424C-B45C-C04993BD12F8}" dt="2022-08-30T15:28:27.652" v="4970" actId="2696"/>
        <pc:sldMkLst>
          <pc:docMk/>
          <pc:sldMk cId="1407575050" sldId="419"/>
        </pc:sldMkLst>
        <pc:spChg chg="mod">
          <ac:chgData name="Vicky Zhu" userId="43b2fca5-5078-400e-a96a-6011ea3ac46d" providerId="ADAL" clId="{7289181A-5FA1-424C-B45C-C04993BD12F8}" dt="2022-08-25T17:39:45.871" v="3135" actId="20577"/>
          <ac:spMkLst>
            <pc:docMk/>
            <pc:sldMk cId="1407575050" sldId="419"/>
            <ac:spMk id="2" creationId="{2C19D267-1FD9-4A6E-BD6A-10A4C1CD340F}"/>
          </ac:spMkLst>
        </pc:spChg>
        <pc:spChg chg="mod">
          <ac:chgData name="Vicky Zhu" userId="43b2fca5-5078-400e-a96a-6011ea3ac46d" providerId="ADAL" clId="{7289181A-5FA1-424C-B45C-C04993BD12F8}" dt="2022-08-25T17:38:00.327" v="3088" actId="20577"/>
          <ac:spMkLst>
            <pc:docMk/>
            <pc:sldMk cId="1407575050" sldId="419"/>
            <ac:spMk id="3" creationId="{07279096-530D-4F07-89E6-72BA4F8F1BF4}"/>
          </ac:spMkLst>
        </pc:spChg>
      </pc:sldChg>
      <pc:sldChg chg="new del">
        <pc:chgData name="Vicky Zhu" userId="43b2fca5-5078-400e-a96a-6011ea3ac46d" providerId="ADAL" clId="{7289181A-5FA1-424C-B45C-C04993BD12F8}" dt="2022-08-30T15:30:24.572" v="4976" actId="2696"/>
        <pc:sldMkLst>
          <pc:docMk/>
          <pc:sldMk cId="2500240353" sldId="419"/>
        </pc:sldMkLst>
      </pc:sldChg>
      <pc:sldChg chg="modSp new del mod ord">
        <pc:chgData name="Vicky Zhu" userId="43b2fca5-5078-400e-a96a-6011ea3ac46d" providerId="ADAL" clId="{7289181A-5FA1-424C-B45C-C04993BD12F8}" dt="2022-08-30T15:29:01.361" v="4973" actId="2696"/>
        <pc:sldMkLst>
          <pc:docMk/>
          <pc:sldMk cId="1115592687" sldId="420"/>
        </pc:sldMkLst>
        <pc:spChg chg="mod">
          <ac:chgData name="Vicky Zhu" userId="43b2fca5-5078-400e-a96a-6011ea3ac46d" providerId="ADAL" clId="{7289181A-5FA1-424C-B45C-C04993BD12F8}" dt="2022-08-25T17:49:31.975" v="3797" actId="20577"/>
          <ac:spMkLst>
            <pc:docMk/>
            <pc:sldMk cId="1115592687" sldId="420"/>
            <ac:spMk id="3" creationId="{46D9E77F-D7D7-4C83-9F49-EA11BBC51117}"/>
          </ac:spMkLst>
        </pc:spChg>
      </pc:sldChg>
      <pc:sldChg chg="delSp modSp add mod">
        <pc:chgData name="Vicky Zhu" userId="43b2fca5-5078-400e-a96a-6011ea3ac46d" providerId="ADAL" clId="{7289181A-5FA1-424C-B45C-C04993BD12F8}" dt="2022-08-30T15:35:14.201" v="5061" actId="20577"/>
        <pc:sldMkLst>
          <pc:docMk/>
          <pc:sldMk cId="1617029453" sldId="420"/>
        </pc:sldMkLst>
        <pc:spChg chg="del">
          <ac:chgData name="Vicky Zhu" userId="43b2fca5-5078-400e-a96a-6011ea3ac46d" providerId="ADAL" clId="{7289181A-5FA1-424C-B45C-C04993BD12F8}" dt="2022-08-30T15:30:54.896" v="4979" actId="478"/>
          <ac:spMkLst>
            <pc:docMk/>
            <pc:sldMk cId="1617029453" sldId="420"/>
            <ac:spMk id="6" creationId="{5C3E6664-5154-4606-9A00-C29BA0890737}"/>
          </ac:spMkLst>
        </pc:spChg>
        <pc:spChg chg="mod">
          <ac:chgData name="Vicky Zhu" userId="43b2fca5-5078-400e-a96a-6011ea3ac46d" providerId="ADAL" clId="{7289181A-5FA1-424C-B45C-C04993BD12F8}" dt="2022-08-30T15:32:15.829" v="4993" actId="113"/>
          <ac:spMkLst>
            <pc:docMk/>
            <pc:sldMk cId="1617029453" sldId="420"/>
            <ac:spMk id="11" creationId="{3057E78C-D0FB-4DC8-BBF5-2196445AEF0A}"/>
          </ac:spMkLst>
        </pc:spChg>
        <pc:spChg chg="del">
          <ac:chgData name="Vicky Zhu" userId="43b2fca5-5078-400e-a96a-6011ea3ac46d" providerId="ADAL" clId="{7289181A-5FA1-424C-B45C-C04993BD12F8}" dt="2022-08-30T15:31:05.726" v="4981" actId="478"/>
          <ac:spMkLst>
            <pc:docMk/>
            <pc:sldMk cId="1617029453" sldId="420"/>
            <ac:spMk id="15" creationId="{37D85AFC-823D-4657-B24D-3355AE2A414A}"/>
          </ac:spMkLst>
        </pc:spChg>
        <pc:spChg chg="del">
          <ac:chgData name="Vicky Zhu" userId="43b2fca5-5078-400e-a96a-6011ea3ac46d" providerId="ADAL" clId="{7289181A-5FA1-424C-B45C-C04993BD12F8}" dt="2022-08-30T15:31:12.915" v="4982" actId="478"/>
          <ac:spMkLst>
            <pc:docMk/>
            <pc:sldMk cId="1617029453" sldId="420"/>
            <ac:spMk id="16" creationId="{05A7CDF1-2351-4C34-9CBA-16FD838ED019}"/>
          </ac:spMkLst>
        </pc:spChg>
        <pc:spChg chg="del">
          <ac:chgData name="Vicky Zhu" userId="43b2fca5-5078-400e-a96a-6011ea3ac46d" providerId="ADAL" clId="{7289181A-5FA1-424C-B45C-C04993BD12F8}" dt="2022-08-30T15:31:01.067" v="4980" actId="478"/>
          <ac:spMkLst>
            <pc:docMk/>
            <pc:sldMk cId="1617029453" sldId="420"/>
            <ac:spMk id="17" creationId="{9813E956-7B09-4E5D-85E0-F6BAFE118A1E}"/>
          </ac:spMkLst>
        </pc:spChg>
        <pc:spChg chg="mod">
          <ac:chgData name="Vicky Zhu" userId="43b2fca5-5078-400e-a96a-6011ea3ac46d" providerId="ADAL" clId="{7289181A-5FA1-424C-B45C-C04993BD12F8}" dt="2022-08-30T15:35:14.201" v="5061" actId="20577"/>
          <ac:spMkLst>
            <pc:docMk/>
            <pc:sldMk cId="1617029453" sldId="420"/>
            <ac:spMk id="29" creationId="{2DC6CACD-940B-447C-816F-8207DAA08483}"/>
          </ac:spMkLst>
        </pc:spChg>
        <pc:picChg chg="mod">
          <ac:chgData name="Vicky Zhu" userId="43b2fca5-5078-400e-a96a-6011ea3ac46d" providerId="ADAL" clId="{7289181A-5FA1-424C-B45C-C04993BD12F8}" dt="2022-08-30T15:31:16.221" v="4983" actId="1076"/>
          <ac:picMkLst>
            <pc:docMk/>
            <pc:sldMk cId="1617029453" sldId="420"/>
            <ac:picMk id="9" creationId="{AFF49011-D2B4-41BE-BC1D-57DD383E6B35}"/>
          </ac:picMkLst>
        </pc:picChg>
        <pc:picChg chg="mod">
          <ac:chgData name="Vicky Zhu" userId="43b2fca5-5078-400e-a96a-6011ea3ac46d" providerId="ADAL" clId="{7289181A-5FA1-424C-B45C-C04993BD12F8}" dt="2022-08-30T15:34:19.473" v="5055" actId="1076"/>
          <ac:picMkLst>
            <pc:docMk/>
            <pc:sldMk cId="1617029453" sldId="420"/>
            <ac:picMk id="31" creationId="{85585130-0289-4761-8A01-6BEA59CFA263}"/>
          </ac:picMkLst>
        </pc:picChg>
        <pc:cxnChg chg="mod">
          <ac:chgData name="Vicky Zhu" userId="43b2fca5-5078-400e-a96a-6011ea3ac46d" providerId="ADAL" clId="{7289181A-5FA1-424C-B45C-C04993BD12F8}" dt="2022-08-30T15:34:39.399" v="5059" actId="14100"/>
          <ac:cxnSpMkLst>
            <pc:docMk/>
            <pc:sldMk cId="1617029453" sldId="420"/>
            <ac:cxnSpMk id="22" creationId="{0398B488-FCA9-4B7C-94AC-444A92A7EB36}"/>
          </ac:cxnSpMkLst>
        </pc:cxnChg>
        <pc:cxnChg chg="mod">
          <ac:chgData name="Vicky Zhu" userId="43b2fca5-5078-400e-a96a-6011ea3ac46d" providerId="ADAL" clId="{7289181A-5FA1-424C-B45C-C04993BD12F8}" dt="2022-08-30T15:34:33.504" v="5058" actId="14100"/>
          <ac:cxnSpMkLst>
            <pc:docMk/>
            <pc:sldMk cId="1617029453" sldId="420"/>
            <ac:cxnSpMk id="27" creationId="{629CBEEC-5796-45B6-9177-FB4BE0231A82}"/>
          </ac:cxnSpMkLst>
        </pc:cxnChg>
      </pc:sldChg>
      <pc:sldChg chg="new del">
        <pc:chgData name="Vicky Zhu" userId="43b2fca5-5078-400e-a96a-6011ea3ac46d" providerId="ADAL" clId="{7289181A-5FA1-424C-B45C-C04993BD12F8}" dt="2022-08-25T17:41:33.035" v="3208" actId="2696"/>
        <pc:sldMkLst>
          <pc:docMk/>
          <pc:sldMk cId="2780598700" sldId="420"/>
        </pc:sldMkLst>
      </pc:sldChg>
      <pc:sldChg chg="modSp new del mod">
        <pc:chgData name="Vicky Zhu" userId="43b2fca5-5078-400e-a96a-6011ea3ac46d" providerId="ADAL" clId="{7289181A-5FA1-424C-B45C-C04993BD12F8}" dt="2022-08-30T15:04:08.154" v="4496" actId="2696"/>
        <pc:sldMkLst>
          <pc:docMk/>
          <pc:sldMk cId="2838617958" sldId="421"/>
        </pc:sldMkLst>
        <pc:spChg chg="mod">
          <ac:chgData name="Vicky Zhu" userId="43b2fca5-5078-400e-a96a-6011ea3ac46d" providerId="ADAL" clId="{7289181A-5FA1-424C-B45C-C04993BD12F8}" dt="2022-08-25T18:00:20.256" v="3951" actId="20577"/>
          <ac:spMkLst>
            <pc:docMk/>
            <pc:sldMk cId="2838617958" sldId="421"/>
            <ac:spMk id="3" creationId="{E3570E0E-A7E5-4BEC-BD23-EFF425471179}"/>
          </ac:spMkLst>
        </pc:spChg>
      </pc:sldChg>
      <pc:sldChg chg="new del">
        <pc:chgData name="Vicky Zhu" userId="43b2fca5-5078-400e-a96a-6011ea3ac46d" providerId="ADAL" clId="{7289181A-5FA1-424C-B45C-C04993BD12F8}" dt="2022-09-03T02:18:36.476" v="5234" actId="2696"/>
        <pc:sldMkLst>
          <pc:docMk/>
          <pc:sldMk cId="3539710662" sldId="421"/>
        </pc:sldMkLst>
      </pc:sldChg>
      <pc:sldChg chg="add del">
        <pc:chgData name="Vicky Zhu" userId="43b2fca5-5078-400e-a96a-6011ea3ac46d" providerId="ADAL" clId="{7289181A-5FA1-424C-B45C-C04993BD12F8}" dt="2022-08-30T14:36:15.867" v="4073"/>
        <pc:sldMkLst>
          <pc:docMk/>
          <pc:sldMk cId="432548819" sldId="422"/>
        </pc:sldMkLst>
      </pc:sldChg>
      <pc:sldChg chg="add del">
        <pc:chgData name="Vicky Zhu" userId="43b2fca5-5078-400e-a96a-6011ea3ac46d" providerId="ADAL" clId="{7289181A-5FA1-424C-B45C-C04993BD12F8}" dt="2022-08-30T14:30:22.183" v="3960" actId="2696"/>
        <pc:sldMkLst>
          <pc:docMk/>
          <pc:sldMk cId="2207413224" sldId="422"/>
        </pc:sldMkLst>
      </pc:sldChg>
      <pc:sldChg chg="addSp delSp modSp add mod">
        <pc:chgData name="Vicky Zhu" userId="43b2fca5-5078-400e-a96a-6011ea3ac46d" providerId="ADAL" clId="{7289181A-5FA1-424C-B45C-C04993BD12F8}" dt="2022-09-03T02:33:27.223" v="5571" actId="13926"/>
        <pc:sldMkLst>
          <pc:docMk/>
          <pc:sldMk cId="3133880187" sldId="422"/>
        </pc:sldMkLst>
        <pc:spChg chg="mod">
          <ac:chgData name="Vicky Zhu" userId="43b2fca5-5078-400e-a96a-6011ea3ac46d" providerId="ADAL" clId="{7289181A-5FA1-424C-B45C-C04993BD12F8}" dt="2022-09-03T02:21:15.924" v="5469"/>
          <ac:spMkLst>
            <pc:docMk/>
            <pc:sldMk cId="3133880187" sldId="422"/>
            <ac:spMk id="2" creationId="{DFA53D4A-C878-4B4F-A190-CBC44CDE2065}"/>
          </ac:spMkLst>
        </pc:spChg>
        <pc:spChg chg="mod">
          <ac:chgData name="Vicky Zhu" userId="43b2fca5-5078-400e-a96a-6011ea3ac46d" providerId="ADAL" clId="{7289181A-5FA1-424C-B45C-C04993BD12F8}" dt="2022-09-03T02:21:08.393" v="5468"/>
          <ac:spMkLst>
            <pc:docMk/>
            <pc:sldMk cId="3133880187" sldId="422"/>
            <ac:spMk id="3" creationId="{6D2DA648-CBDA-4B1E-A1CB-42681E3F6D3B}"/>
          </ac:spMkLst>
        </pc:spChg>
        <pc:graphicFrameChg chg="mod modGraphic">
          <ac:chgData name="Vicky Zhu" userId="43b2fca5-5078-400e-a96a-6011ea3ac46d" providerId="ADAL" clId="{7289181A-5FA1-424C-B45C-C04993BD12F8}" dt="2022-09-03T02:26:49.010" v="5533" actId="13926"/>
          <ac:graphicFrameMkLst>
            <pc:docMk/>
            <pc:sldMk cId="3133880187" sldId="422"/>
            <ac:graphicFrameMk id="9" creationId="{24A30E2C-6B8B-4461-9424-B092CA40AFF1}"/>
          </ac:graphicFrameMkLst>
        </pc:graphicFrameChg>
        <pc:graphicFrameChg chg="add del mod modGraphic">
          <ac:chgData name="Vicky Zhu" userId="43b2fca5-5078-400e-a96a-6011ea3ac46d" providerId="ADAL" clId="{7289181A-5FA1-424C-B45C-C04993BD12F8}" dt="2022-09-03T02:33:27.223" v="5571" actId="13926"/>
          <ac:graphicFrameMkLst>
            <pc:docMk/>
            <pc:sldMk cId="3133880187" sldId="422"/>
            <ac:graphicFrameMk id="25" creationId="{A0D92AFE-6925-473E-A9DB-BD0A852525EF}"/>
          </ac:graphicFrameMkLst>
        </pc:graphicFrameChg>
        <pc:picChg chg="del">
          <ac:chgData name="Vicky Zhu" userId="43b2fca5-5078-400e-a96a-6011ea3ac46d" providerId="ADAL" clId="{7289181A-5FA1-424C-B45C-C04993BD12F8}" dt="2022-09-03T02:21:20.366" v="5470" actId="478"/>
          <ac:picMkLst>
            <pc:docMk/>
            <pc:sldMk cId="3133880187" sldId="422"/>
            <ac:picMk id="19" creationId="{5545F5A7-C68F-44FF-B6CF-6C0F6DBEC856}"/>
          </ac:picMkLst>
        </pc:picChg>
        <pc:picChg chg="del">
          <ac:chgData name="Vicky Zhu" userId="43b2fca5-5078-400e-a96a-6011ea3ac46d" providerId="ADAL" clId="{7289181A-5FA1-424C-B45C-C04993BD12F8}" dt="2022-09-03T02:21:38.176" v="5473" actId="478"/>
          <ac:picMkLst>
            <pc:docMk/>
            <pc:sldMk cId="3133880187" sldId="422"/>
            <ac:picMk id="20" creationId="{A5A365D8-8FF2-4E36-9C4E-386910044F70}"/>
          </ac:picMkLst>
        </pc:picChg>
        <pc:picChg chg="add mod">
          <ac:chgData name="Vicky Zhu" userId="43b2fca5-5078-400e-a96a-6011ea3ac46d" providerId="ADAL" clId="{7289181A-5FA1-424C-B45C-C04993BD12F8}" dt="2022-09-03T02:21:44.240" v="5475" actId="14100"/>
          <ac:picMkLst>
            <pc:docMk/>
            <pc:sldMk cId="3133880187" sldId="422"/>
            <ac:picMk id="23" creationId="{F7A9E5CD-7B39-472A-994F-02F5F2039FD8}"/>
          </ac:picMkLst>
        </pc:picChg>
        <pc:picChg chg="add mod">
          <ac:chgData name="Vicky Zhu" userId="43b2fca5-5078-400e-a96a-6011ea3ac46d" providerId="ADAL" clId="{7289181A-5FA1-424C-B45C-C04993BD12F8}" dt="2022-09-03T02:22:00.057" v="5479" actId="1076"/>
          <ac:picMkLst>
            <pc:docMk/>
            <pc:sldMk cId="3133880187" sldId="422"/>
            <ac:picMk id="26" creationId="{DCFCD9FB-2436-4596-8F12-D01E7D82DA25}"/>
          </ac:picMkLst>
        </pc:picChg>
      </pc:sldChg>
      <pc:sldChg chg="modSp new del mod">
        <pc:chgData name="Vicky Zhu" userId="43b2fca5-5078-400e-a96a-6011ea3ac46d" providerId="ADAL" clId="{7289181A-5FA1-424C-B45C-C04993BD12F8}" dt="2022-09-03T02:33:19.256" v="5570" actId="2696"/>
        <pc:sldMkLst>
          <pc:docMk/>
          <pc:sldMk cId="2032779180" sldId="423"/>
        </pc:sldMkLst>
        <pc:spChg chg="mod">
          <ac:chgData name="Vicky Zhu" userId="43b2fca5-5078-400e-a96a-6011ea3ac46d" providerId="ADAL" clId="{7289181A-5FA1-424C-B45C-C04993BD12F8}" dt="2022-09-03T02:20:25.771" v="5465" actId="20577"/>
          <ac:spMkLst>
            <pc:docMk/>
            <pc:sldMk cId="2032779180" sldId="423"/>
            <ac:spMk id="2" creationId="{B700C2A9-364D-4333-A32F-A8A429F5C0DE}"/>
          </ac:spMkLst>
        </pc:spChg>
        <pc:spChg chg="mod">
          <ac:chgData name="Vicky Zhu" userId="43b2fca5-5078-400e-a96a-6011ea3ac46d" providerId="ADAL" clId="{7289181A-5FA1-424C-B45C-C04993BD12F8}" dt="2022-09-03T02:19:29.228" v="5342" actId="21"/>
          <ac:spMkLst>
            <pc:docMk/>
            <pc:sldMk cId="2032779180" sldId="423"/>
            <ac:spMk id="3" creationId="{AD52B48F-AF6C-45B2-B7F6-2A861BDD8F6A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A97DFF8-CF8B-4C82-B523-549FEE583A04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FF19CB66-2EA5-4F5A-A9F0-C0D2E308E579}">
      <dgm:prSet/>
      <dgm:spPr/>
      <dgm:t>
        <a:bodyPr/>
        <a:lstStyle/>
        <a:p>
          <a:r>
            <a:rPr lang="en-US" dirty="0"/>
            <a:t>Name</a:t>
          </a:r>
        </a:p>
      </dgm:t>
    </dgm:pt>
    <dgm:pt modelId="{405F5402-B9FF-48D5-9A30-BAA93065DFD7}" type="parTrans" cxnId="{0E9FB0B9-B5BA-4BCB-91D8-F65ED4D91608}">
      <dgm:prSet/>
      <dgm:spPr/>
      <dgm:t>
        <a:bodyPr/>
        <a:lstStyle/>
        <a:p>
          <a:endParaRPr lang="en-US"/>
        </a:p>
      </dgm:t>
    </dgm:pt>
    <dgm:pt modelId="{E9BEFFA2-118B-4336-8DD7-6280B3E7FAF0}" type="sibTrans" cxnId="{0E9FB0B9-B5BA-4BCB-91D8-F65ED4D91608}">
      <dgm:prSet/>
      <dgm:spPr/>
      <dgm:t>
        <a:bodyPr/>
        <a:lstStyle/>
        <a:p>
          <a:endParaRPr lang="en-US"/>
        </a:p>
      </dgm:t>
    </dgm:pt>
    <dgm:pt modelId="{758621DF-4EB7-42BF-B0F2-53A664E915E4}">
      <dgm:prSet/>
      <dgm:spPr/>
      <dgm:t>
        <a:bodyPr/>
        <a:lstStyle/>
        <a:p>
          <a:r>
            <a:rPr lang="en-US" dirty="0"/>
            <a:t>Education</a:t>
          </a:r>
        </a:p>
      </dgm:t>
    </dgm:pt>
    <dgm:pt modelId="{AAFF08E9-1599-4257-AD50-EDCA7B08462E}" type="parTrans" cxnId="{FA6A664B-A7A2-4397-A058-D8562A41FA71}">
      <dgm:prSet/>
      <dgm:spPr/>
      <dgm:t>
        <a:bodyPr/>
        <a:lstStyle/>
        <a:p>
          <a:endParaRPr lang="en-US"/>
        </a:p>
      </dgm:t>
    </dgm:pt>
    <dgm:pt modelId="{DEFAEE7C-9092-4181-838B-5D4898C52C1C}" type="sibTrans" cxnId="{FA6A664B-A7A2-4397-A058-D8562A41FA71}">
      <dgm:prSet/>
      <dgm:spPr/>
      <dgm:t>
        <a:bodyPr/>
        <a:lstStyle/>
        <a:p>
          <a:endParaRPr lang="en-US"/>
        </a:p>
      </dgm:t>
    </dgm:pt>
    <dgm:pt modelId="{26D51BF1-A2CE-4206-9A1A-8BB62C206A13}">
      <dgm:prSet/>
      <dgm:spPr/>
      <dgm:t>
        <a:bodyPr/>
        <a:lstStyle/>
        <a:p>
          <a:r>
            <a:rPr lang="en-US" i="1" dirty="0"/>
            <a:t>Ph.D. Candidate</a:t>
          </a:r>
          <a:r>
            <a:rPr lang="en-US" dirty="0"/>
            <a:t> in Applied &amp; Computational Mathematics and Statistics department, University of Notre Dame (U.S.)</a:t>
          </a:r>
        </a:p>
      </dgm:t>
    </dgm:pt>
    <dgm:pt modelId="{A1A91C51-1DA4-4740-BDEA-23A2099DDB65}" type="parTrans" cxnId="{42E3D05E-A74E-45EC-919E-5D56D4423F6B}">
      <dgm:prSet/>
      <dgm:spPr/>
      <dgm:t>
        <a:bodyPr/>
        <a:lstStyle/>
        <a:p>
          <a:endParaRPr lang="en-US"/>
        </a:p>
      </dgm:t>
    </dgm:pt>
    <dgm:pt modelId="{605C283F-E0A2-45F0-9039-43EA3174D1DC}" type="sibTrans" cxnId="{42E3D05E-A74E-45EC-919E-5D56D4423F6B}">
      <dgm:prSet/>
      <dgm:spPr/>
      <dgm:t>
        <a:bodyPr/>
        <a:lstStyle/>
        <a:p>
          <a:endParaRPr lang="en-US"/>
        </a:p>
      </dgm:t>
    </dgm:pt>
    <dgm:pt modelId="{9D372FDB-BC16-4828-BFA0-F2899B90AB8E}">
      <dgm:prSet/>
      <dgm:spPr/>
      <dgm:t>
        <a:bodyPr/>
        <a:lstStyle/>
        <a:p>
          <a:r>
            <a:rPr lang="en-US" dirty="0"/>
            <a:t>Vicky R. Zhu</a:t>
          </a:r>
        </a:p>
      </dgm:t>
    </dgm:pt>
    <dgm:pt modelId="{4B467617-22B3-4C70-A415-3A2C6915BFD8}" type="parTrans" cxnId="{96492DAB-4976-481C-A2B4-43AD9F7C1CA7}">
      <dgm:prSet/>
      <dgm:spPr/>
      <dgm:t>
        <a:bodyPr/>
        <a:lstStyle/>
        <a:p>
          <a:endParaRPr lang="en-US"/>
        </a:p>
      </dgm:t>
    </dgm:pt>
    <dgm:pt modelId="{48E90767-D6EE-49C7-8246-DDFC2B6DE711}" type="sibTrans" cxnId="{96492DAB-4976-481C-A2B4-43AD9F7C1CA7}">
      <dgm:prSet/>
      <dgm:spPr/>
      <dgm:t>
        <a:bodyPr/>
        <a:lstStyle/>
        <a:p>
          <a:endParaRPr lang="en-US"/>
        </a:p>
      </dgm:t>
    </dgm:pt>
    <dgm:pt modelId="{ADFCB98F-F4AE-4DEE-BA26-43B4B9639FB9}">
      <dgm:prSet/>
      <dgm:spPr/>
      <dgm:t>
        <a:bodyPr/>
        <a:lstStyle/>
        <a:p>
          <a:r>
            <a:rPr lang="en-US" dirty="0"/>
            <a:t>Intern Group</a:t>
          </a:r>
        </a:p>
      </dgm:t>
    </dgm:pt>
    <dgm:pt modelId="{BDC6B96A-742F-418C-8DB4-E705944C269C}" type="sibTrans" cxnId="{1D20AD05-ED6A-44FC-B9D3-6DE9E73B6B0C}">
      <dgm:prSet/>
      <dgm:spPr/>
      <dgm:t>
        <a:bodyPr/>
        <a:lstStyle/>
        <a:p>
          <a:endParaRPr lang="en-US"/>
        </a:p>
      </dgm:t>
    </dgm:pt>
    <dgm:pt modelId="{86E80810-90F4-49D7-B507-F698F4A0D68A}" type="parTrans" cxnId="{1D20AD05-ED6A-44FC-B9D3-6DE9E73B6B0C}">
      <dgm:prSet/>
      <dgm:spPr/>
      <dgm:t>
        <a:bodyPr/>
        <a:lstStyle/>
        <a:p>
          <a:endParaRPr lang="en-US"/>
        </a:p>
      </dgm:t>
    </dgm:pt>
    <dgm:pt modelId="{A7C2FEED-CA9D-424B-A2B6-A0C2C61FB703}">
      <dgm:prSet/>
      <dgm:spPr/>
      <dgm:t>
        <a:bodyPr/>
        <a:lstStyle/>
        <a:p>
          <a:r>
            <a:rPr lang="en-US" dirty="0"/>
            <a:t>Pharmaceuticals Division</a:t>
          </a:r>
        </a:p>
      </dgm:t>
    </dgm:pt>
    <dgm:pt modelId="{2E5AFD37-6630-46E4-BCC2-269F58AD25E7}" type="sibTrans" cxnId="{2398E955-02FE-4D2E-96DB-90F871B07E83}">
      <dgm:prSet/>
      <dgm:spPr/>
      <dgm:t>
        <a:bodyPr/>
        <a:lstStyle/>
        <a:p>
          <a:endParaRPr lang="en-US"/>
        </a:p>
      </dgm:t>
    </dgm:pt>
    <dgm:pt modelId="{8EA73303-DA1B-474C-BB50-5D369F835987}" type="parTrans" cxnId="{2398E955-02FE-4D2E-96DB-90F871B07E83}">
      <dgm:prSet/>
      <dgm:spPr/>
      <dgm:t>
        <a:bodyPr/>
        <a:lstStyle/>
        <a:p>
          <a:endParaRPr lang="en-US"/>
        </a:p>
      </dgm:t>
    </dgm:pt>
    <dgm:pt modelId="{A1B2234C-D91E-4F15-BDBD-90241A2B4857}">
      <dgm:prSet/>
      <dgm:spPr/>
      <dgm:t>
        <a:bodyPr/>
        <a:lstStyle/>
        <a:p>
          <a:endParaRPr lang="en-US" dirty="0"/>
        </a:p>
      </dgm:t>
    </dgm:pt>
    <dgm:pt modelId="{6866E89A-A213-4B20-BF4B-0695983C3F04}" type="parTrans" cxnId="{9BCF7288-F1C9-4F14-8D67-CADFACADDEE2}">
      <dgm:prSet/>
      <dgm:spPr/>
      <dgm:t>
        <a:bodyPr/>
        <a:lstStyle/>
        <a:p>
          <a:endParaRPr lang="en-US"/>
        </a:p>
      </dgm:t>
    </dgm:pt>
    <dgm:pt modelId="{BA155E85-478D-48A1-89F0-96A6A920D701}" type="sibTrans" cxnId="{9BCF7288-F1C9-4F14-8D67-CADFACADDEE2}">
      <dgm:prSet/>
      <dgm:spPr/>
      <dgm:t>
        <a:bodyPr/>
        <a:lstStyle/>
        <a:p>
          <a:endParaRPr lang="en-US"/>
        </a:p>
      </dgm:t>
    </dgm:pt>
    <dgm:pt modelId="{B0345CFA-9276-4431-A0D0-C592508FB908}">
      <dgm:prSet/>
      <dgm:spPr/>
      <dgm:t>
        <a:bodyPr/>
        <a:lstStyle/>
        <a:p>
          <a:r>
            <a:rPr lang="en-US" b="0" i="0" dirty="0"/>
            <a:t>Dept.: BDSD/DSS, Berkeley</a:t>
          </a:r>
          <a:endParaRPr lang="en-US" dirty="0"/>
        </a:p>
      </dgm:t>
    </dgm:pt>
    <dgm:pt modelId="{479062A3-96B0-4B9D-92FB-62F803842EE8}" type="parTrans" cxnId="{7E3F43E6-F86A-40F9-A30A-67718482F972}">
      <dgm:prSet/>
      <dgm:spPr/>
      <dgm:t>
        <a:bodyPr/>
        <a:lstStyle/>
        <a:p>
          <a:endParaRPr lang="en-US"/>
        </a:p>
      </dgm:t>
    </dgm:pt>
    <dgm:pt modelId="{51FF7F92-2FFD-4AE7-84A2-95737A995F40}" type="sibTrans" cxnId="{7E3F43E6-F86A-40F9-A30A-67718482F972}">
      <dgm:prSet/>
      <dgm:spPr/>
      <dgm:t>
        <a:bodyPr/>
        <a:lstStyle/>
        <a:p>
          <a:endParaRPr lang="en-US"/>
        </a:p>
      </dgm:t>
    </dgm:pt>
    <dgm:pt modelId="{63287AE4-4DDF-4E8E-BD75-3863B5AC9268}">
      <dgm:prSet/>
      <dgm:spPr/>
      <dgm:t>
        <a:bodyPr/>
        <a:lstStyle/>
        <a:p>
          <a:r>
            <a:rPr lang="en-US" dirty="0"/>
            <a:t>Advisor: Shyam Panjwani, Hao Wei, and Kostas </a:t>
          </a:r>
          <a:r>
            <a:rPr lang="en-US" dirty="0" err="1"/>
            <a:t>Spetsieris</a:t>
          </a:r>
          <a:endParaRPr lang="en-US" dirty="0"/>
        </a:p>
      </dgm:t>
    </dgm:pt>
    <dgm:pt modelId="{D189BCD7-9A6A-4C10-A9DB-B6222D5E4EA3}" type="parTrans" cxnId="{DFC929D4-6054-470A-99D5-6655828E62D2}">
      <dgm:prSet/>
      <dgm:spPr/>
      <dgm:t>
        <a:bodyPr/>
        <a:lstStyle/>
        <a:p>
          <a:endParaRPr lang="en-US"/>
        </a:p>
      </dgm:t>
    </dgm:pt>
    <dgm:pt modelId="{C630300D-AC04-4D0C-85CC-CDEB46D908AE}" type="sibTrans" cxnId="{DFC929D4-6054-470A-99D5-6655828E62D2}">
      <dgm:prSet/>
      <dgm:spPr/>
      <dgm:t>
        <a:bodyPr/>
        <a:lstStyle/>
        <a:p>
          <a:endParaRPr lang="en-US"/>
        </a:p>
      </dgm:t>
    </dgm:pt>
    <dgm:pt modelId="{AAF36740-A9CB-4585-B817-A40C4AB9F0E5}" type="pres">
      <dgm:prSet presAssocID="{DA97DFF8-CF8B-4C82-B523-549FEE583A04}" presName="linear" presStyleCnt="0">
        <dgm:presLayoutVars>
          <dgm:dir/>
          <dgm:animLvl val="lvl"/>
          <dgm:resizeHandles val="exact"/>
        </dgm:presLayoutVars>
      </dgm:prSet>
      <dgm:spPr/>
    </dgm:pt>
    <dgm:pt modelId="{B43F9B1F-4603-4C4E-9440-3BE0BCFF1FED}" type="pres">
      <dgm:prSet presAssocID="{FF19CB66-2EA5-4F5A-A9F0-C0D2E308E579}" presName="parentLin" presStyleCnt="0"/>
      <dgm:spPr/>
    </dgm:pt>
    <dgm:pt modelId="{13345389-1C75-4511-BCC4-6C2EA37718E8}" type="pres">
      <dgm:prSet presAssocID="{FF19CB66-2EA5-4F5A-A9F0-C0D2E308E579}" presName="parentLeftMargin" presStyleLbl="node1" presStyleIdx="0" presStyleCnt="3"/>
      <dgm:spPr/>
    </dgm:pt>
    <dgm:pt modelId="{5DD90B94-8FEA-4799-947B-824E328FD00E}" type="pres">
      <dgm:prSet presAssocID="{FF19CB66-2EA5-4F5A-A9F0-C0D2E308E579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A57C7090-5076-4214-809B-AF8C047BAF3B}" type="pres">
      <dgm:prSet presAssocID="{FF19CB66-2EA5-4F5A-A9F0-C0D2E308E579}" presName="negativeSpace" presStyleCnt="0"/>
      <dgm:spPr/>
    </dgm:pt>
    <dgm:pt modelId="{F8583AFE-3C8C-47FD-BFB2-02EA5AB75BA3}" type="pres">
      <dgm:prSet presAssocID="{FF19CB66-2EA5-4F5A-A9F0-C0D2E308E579}" presName="childText" presStyleLbl="conFgAcc1" presStyleIdx="0" presStyleCnt="3">
        <dgm:presLayoutVars>
          <dgm:bulletEnabled val="1"/>
        </dgm:presLayoutVars>
      </dgm:prSet>
      <dgm:spPr/>
    </dgm:pt>
    <dgm:pt modelId="{91B3758C-BFDF-41AD-9D65-E100BD07C2AC}" type="pres">
      <dgm:prSet presAssocID="{E9BEFFA2-118B-4336-8DD7-6280B3E7FAF0}" presName="spaceBetweenRectangles" presStyleCnt="0"/>
      <dgm:spPr/>
    </dgm:pt>
    <dgm:pt modelId="{B0E1793A-CA48-428F-A872-F2E422A5BB20}" type="pres">
      <dgm:prSet presAssocID="{758621DF-4EB7-42BF-B0F2-53A664E915E4}" presName="parentLin" presStyleCnt="0"/>
      <dgm:spPr/>
    </dgm:pt>
    <dgm:pt modelId="{089D9E7F-8463-4055-B2D0-55083E11D361}" type="pres">
      <dgm:prSet presAssocID="{758621DF-4EB7-42BF-B0F2-53A664E915E4}" presName="parentLeftMargin" presStyleLbl="node1" presStyleIdx="0" presStyleCnt="3"/>
      <dgm:spPr/>
    </dgm:pt>
    <dgm:pt modelId="{1BBF5EB9-ACCA-4DD8-BA57-9E4C0EF09BB3}" type="pres">
      <dgm:prSet presAssocID="{758621DF-4EB7-42BF-B0F2-53A664E915E4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851BF77C-73DD-43C7-8B78-837C90D0E56E}" type="pres">
      <dgm:prSet presAssocID="{758621DF-4EB7-42BF-B0F2-53A664E915E4}" presName="negativeSpace" presStyleCnt="0"/>
      <dgm:spPr/>
    </dgm:pt>
    <dgm:pt modelId="{BBD178B1-BBB1-4106-9635-365E3430F6FC}" type="pres">
      <dgm:prSet presAssocID="{758621DF-4EB7-42BF-B0F2-53A664E915E4}" presName="childText" presStyleLbl="conFgAcc1" presStyleIdx="1" presStyleCnt="3">
        <dgm:presLayoutVars>
          <dgm:bulletEnabled val="1"/>
        </dgm:presLayoutVars>
      </dgm:prSet>
      <dgm:spPr/>
    </dgm:pt>
    <dgm:pt modelId="{905883D3-6904-4206-9B51-C474E3F30538}" type="pres">
      <dgm:prSet presAssocID="{DEFAEE7C-9092-4181-838B-5D4898C52C1C}" presName="spaceBetweenRectangles" presStyleCnt="0"/>
      <dgm:spPr/>
    </dgm:pt>
    <dgm:pt modelId="{3D66D662-6907-4F28-B571-823B3E554C9B}" type="pres">
      <dgm:prSet presAssocID="{ADFCB98F-F4AE-4DEE-BA26-43B4B9639FB9}" presName="parentLin" presStyleCnt="0"/>
      <dgm:spPr/>
    </dgm:pt>
    <dgm:pt modelId="{621E053E-C8B6-458B-BE0D-72715C795C1A}" type="pres">
      <dgm:prSet presAssocID="{ADFCB98F-F4AE-4DEE-BA26-43B4B9639FB9}" presName="parentLeftMargin" presStyleLbl="node1" presStyleIdx="1" presStyleCnt="3"/>
      <dgm:spPr/>
    </dgm:pt>
    <dgm:pt modelId="{AD8D09F6-942B-4A53-B466-6D96727F3ADC}" type="pres">
      <dgm:prSet presAssocID="{ADFCB98F-F4AE-4DEE-BA26-43B4B9639FB9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6D647711-890B-486B-9C5C-8D42AA75CD4E}" type="pres">
      <dgm:prSet presAssocID="{ADFCB98F-F4AE-4DEE-BA26-43B4B9639FB9}" presName="negativeSpace" presStyleCnt="0"/>
      <dgm:spPr/>
    </dgm:pt>
    <dgm:pt modelId="{6DF636FF-CAF2-4E1D-B696-5E7FB2E437C5}" type="pres">
      <dgm:prSet presAssocID="{ADFCB98F-F4AE-4DEE-BA26-43B4B9639FB9}" presName="childText" presStyleLbl="conFgAcc1" presStyleIdx="2" presStyleCnt="3" custLinFactNeighborX="79737" custLinFactNeighborY="-18730">
        <dgm:presLayoutVars>
          <dgm:bulletEnabled val="1"/>
        </dgm:presLayoutVars>
      </dgm:prSet>
      <dgm:spPr/>
    </dgm:pt>
  </dgm:ptLst>
  <dgm:cxnLst>
    <dgm:cxn modelId="{1D20AD05-ED6A-44FC-B9D3-6DE9E73B6B0C}" srcId="{DA97DFF8-CF8B-4C82-B523-549FEE583A04}" destId="{ADFCB98F-F4AE-4DEE-BA26-43B4B9639FB9}" srcOrd="2" destOrd="0" parTransId="{86E80810-90F4-49D7-B507-F698F4A0D68A}" sibTransId="{BDC6B96A-742F-418C-8DB4-E705944C269C}"/>
    <dgm:cxn modelId="{1CF16416-109A-4BCB-979B-706FC4E7FF3B}" type="presOf" srcId="{ADFCB98F-F4AE-4DEE-BA26-43B4B9639FB9}" destId="{621E053E-C8B6-458B-BE0D-72715C795C1A}" srcOrd="0" destOrd="0" presId="urn:microsoft.com/office/officeart/2005/8/layout/list1"/>
    <dgm:cxn modelId="{5D0F501E-4393-4AB5-9FD4-A1175547DF86}" type="presOf" srcId="{ADFCB98F-F4AE-4DEE-BA26-43B4B9639FB9}" destId="{AD8D09F6-942B-4A53-B466-6D96727F3ADC}" srcOrd="1" destOrd="0" presId="urn:microsoft.com/office/officeart/2005/8/layout/list1"/>
    <dgm:cxn modelId="{42E3D05E-A74E-45EC-919E-5D56D4423F6B}" srcId="{758621DF-4EB7-42BF-B0F2-53A664E915E4}" destId="{26D51BF1-A2CE-4206-9A1A-8BB62C206A13}" srcOrd="0" destOrd="0" parTransId="{A1A91C51-1DA4-4740-BDEA-23A2099DDB65}" sibTransId="{605C283F-E0A2-45F0-9039-43EA3174D1DC}"/>
    <dgm:cxn modelId="{FA6A664B-A7A2-4397-A058-D8562A41FA71}" srcId="{DA97DFF8-CF8B-4C82-B523-549FEE583A04}" destId="{758621DF-4EB7-42BF-B0F2-53A664E915E4}" srcOrd="1" destOrd="0" parTransId="{AAFF08E9-1599-4257-AD50-EDCA7B08462E}" sibTransId="{DEFAEE7C-9092-4181-838B-5D4898C52C1C}"/>
    <dgm:cxn modelId="{2398E955-02FE-4D2E-96DB-90F871B07E83}" srcId="{ADFCB98F-F4AE-4DEE-BA26-43B4B9639FB9}" destId="{A7C2FEED-CA9D-424B-A2B6-A0C2C61FB703}" srcOrd="0" destOrd="0" parTransId="{8EA73303-DA1B-474C-BB50-5D369F835987}" sibTransId="{2E5AFD37-6630-46E4-BCC2-269F58AD25E7}"/>
    <dgm:cxn modelId="{9BCF7288-F1C9-4F14-8D67-CADFACADDEE2}" srcId="{ADFCB98F-F4AE-4DEE-BA26-43B4B9639FB9}" destId="{A1B2234C-D91E-4F15-BDBD-90241A2B4857}" srcOrd="3" destOrd="0" parTransId="{6866E89A-A213-4B20-BF4B-0695983C3F04}" sibTransId="{BA155E85-478D-48A1-89F0-96A6A920D701}"/>
    <dgm:cxn modelId="{008B5588-42B8-487B-8A01-D05310925296}" type="presOf" srcId="{63287AE4-4DDF-4E8E-BD75-3863B5AC9268}" destId="{6DF636FF-CAF2-4E1D-B696-5E7FB2E437C5}" srcOrd="0" destOrd="2" presId="urn:microsoft.com/office/officeart/2005/8/layout/list1"/>
    <dgm:cxn modelId="{98FD3E8E-5B31-4DDD-B3ED-3CE61D6316C6}" type="presOf" srcId="{B0345CFA-9276-4431-A0D0-C592508FB908}" destId="{6DF636FF-CAF2-4E1D-B696-5E7FB2E437C5}" srcOrd="0" destOrd="1" presId="urn:microsoft.com/office/officeart/2005/8/layout/list1"/>
    <dgm:cxn modelId="{4FF4ECA7-B245-461B-87D9-0DA5D2B5870B}" type="presOf" srcId="{DA97DFF8-CF8B-4C82-B523-549FEE583A04}" destId="{AAF36740-A9CB-4585-B817-A40C4AB9F0E5}" srcOrd="0" destOrd="0" presId="urn:microsoft.com/office/officeart/2005/8/layout/list1"/>
    <dgm:cxn modelId="{96492DAB-4976-481C-A2B4-43AD9F7C1CA7}" srcId="{FF19CB66-2EA5-4F5A-A9F0-C0D2E308E579}" destId="{9D372FDB-BC16-4828-BFA0-F2899B90AB8E}" srcOrd="0" destOrd="0" parTransId="{4B467617-22B3-4C70-A415-3A2C6915BFD8}" sibTransId="{48E90767-D6EE-49C7-8246-DDFC2B6DE711}"/>
    <dgm:cxn modelId="{068A28B1-9038-4855-98F7-74C5747123A8}" type="presOf" srcId="{FF19CB66-2EA5-4F5A-A9F0-C0D2E308E579}" destId="{5DD90B94-8FEA-4799-947B-824E328FD00E}" srcOrd="1" destOrd="0" presId="urn:microsoft.com/office/officeart/2005/8/layout/list1"/>
    <dgm:cxn modelId="{23A3ACB8-7255-48CD-9B89-70BC2D7DFD92}" type="presOf" srcId="{A1B2234C-D91E-4F15-BDBD-90241A2B4857}" destId="{6DF636FF-CAF2-4E1D-B696-5E7FB2E437C5}" srcOrd="0" destOrd="3" presId="urn:microsoft.com/office/officeart/2005/8/layout/list1"/>
    <dgm:cxn modelId="{D5C4F7B8-338A-4615-B53A-0C6013683E06}" type="presOf" srcId="{A7C2FEED-CA9D-424B-A2B6-A0C2C61FB703}" destId="{6DF636FF-CAF2-4E1D-B696-5E7FB2E437C5}" srcOrd="0" destOrd="0" presId="urn:microsoft.com/office/officeart/2005/8/layout/list1"/>
    <dgm:cxn modelId="{0E9FB0B9-B5BA-4BCB-91D8-F65ED4D91608}" srcId="{DA97DFF8-CF8B-4C82-B523-549FEE583A04}" destId="{FF19CB66-2EA5-4F5A-A9F0-C0D2E308E579}" srcOrd="0" destOrd="0" parTransId="{405F5402-B9FF-48D5-9A30-BAA93065DFD7}" sibTransId="{E9BEFFA2-118B-4336-8DD7-6280B3E7FAF0}"/>
    <dgm:cxn modelId="{90F170CB-B313-4273-B761-C875581441BF}" type="presOf" srcId="{758621DF-4EB7-42BF-B0F2-53A664E915E4}" destId="{1BBF5EB9-ACCA-4DD8-BA57-9E4C0EF09BB3}" srcOrd="1" destOrd="0" presId="urn:microsoft.com/office/officeart/2005/8/layout/list1"/>
    <dgm:cxn modelId="{FE877ED2-1EB9-43E2-AB1A-172216FB3EC7}" type="presOf" srcId="{758621DF-4EB7-42BF-B0F2-53A664E915E4}" destId="{089D9E7F-8463-4055-B2D0-55083E11D361}" srcOrd="0" destOrd="0" presId="urn:microsoft.com/office/officeart/2005/8/layout/list1"/>
    <dgm:cxn modelId="{65C47FD3-8834-4593-A17D-ED200BABE371}" type="presOf" srcId="{26D51BF1-A2CE-4206-9A1A-8BB62C206A13}" destId="{BBD178B1-BBB1-4106-9635-365E3430F6FC}" srcOrd="0" destOrd="0" presId="urn:microsoft.com/office/officeart/2005/8/layout/list1"/>
    <dgm:cxn modelId="{DFC929D4-6054-470A-99D5-6655828E62D2}" srcId="{ADFCB98F-F4AE-4DEE-BA26-43B4B9639FB9}" destId="{63287AE4-4DDF-4E8E-BD75-3863B5AC9268}" srcOrd="2" destOrd="0" parTransId="{D189BCD7-9A6A-4C10-A9DB-B6222D5E4EA3}" sibTransId="{C630300D-AC04-4D0C-85CC-CDEB46D908AE}"/>
    <dgm:cxn modelId="{295D70D5-0BBA-40DB-9076-42318AEAED98}" type="presOf" srcId="{FF19CB66-2EA5-4F5A-A9F0-C0D2E308E579}" destId="{13345389-1C75-4511-BCC4-6C2EA37718E8}" srcOrd="0" destOrd="0" presId="urn:microsoft.com/office/officeart/2005/8/layout/list1"/>
    <dgm:cxn modelId="{7E3F43E6-F86A-40F9-A30A-67718482F972}" srcId="{ADFCB98F-F4AE-4DEE-BA26-43B4B9639FB9}" destId="{B0345CFA-9276-4431-A0D0-C592508FB908}" srcOrd="1" destOrd="0" parTransId="{479062A3-96B0-4B9D-92FB-62F803842EE8}" sibTransId="{51FF7F92-2FFD-4AE7-84A2-95737A995F40}"/>
    <dgm:cxn modelId="{4FA815FC-385F-4913-A3BE-2DB699925718}" type="presOf" srcId="{9D372FDB-BC16-4828-BFA0-F2899B90AB8E}" destId="{F8583AFE-3C8C-47FD-BFB2-02EA5AB75BA3}" srcOrd="0" destOrd="0" presId="urn:microsoft.com/office/officeart/2005/8/layout/list1"/>
    <dgm:cxn modelId="{38FC25C1-9F13-474D-A113-9075F1943A3D}" type="presParOf" srcId="{AAF36740-A9CB-4585-B817-A40C4AB9F0E5}" destId="{B43F9B1F-4603-4C4E-9440-3BE0BCFF1FED}" srcOrd="0" destOrd="0" presId="urn:microsoft.com/office/officeart/2005/8/layout/list1"/>
    <dgm:cxn modelId="{4ECDB6AE-E978-4570-B9FF-6F8D0E9BDF92}" type="presParOf" srcId="{B43F9B1F-4603-4C4E-9440-3BE0BCFF1FED}" destId="{13345389-1C75-4511-BCC4-6C2EA37718E8}" srcOrd="0" destOrd="0" presId="urn:microsoft.com/office/officeart/2005/8/layout/list1"/>
    <dgm:cxn modelId="{0383B7C9-F51C-41FB-A468-70AF16F5F125}" type="presParOf" srcId="{B43F9B1F-4603-4C4E-9440-3BE0BCFF1FED}" destId="{5DD90B94-8FEA-4799-947B-824E328FD00E}" srcOrd="1" destOrd="0" presId="urn:microsoft.com/office/officeart/2005/8/layout/list1"/>
    <dgm:cxn modelId="{6F5F388F-9D93-4560-B627-3A42059EB175}" type="presParOf" srcId="{AAF36740-A9CB-4585-B817-A40C4AB9F0E5}" destId="{A57C7090-5076-4214-809B-AF8C047BAF3B}" srcOrd="1" destOrd="0" presId="urn:microsoft.com/office/officeart/2005/8/layout/list1"/>
    <dgm:cxn modelId="{A8AFA92F-FBDF-41F8-99AF-2D3C8DCEB49D}" type="presParOf" srcId="{AAF36740-A9CB-4585-B817-A40C4AB9F0E5}" destId="{F8583AFE-3C8C-47FD-BFB2-02EA5AB75BA3}" srcOrd="2" destOrd="0" presId="urn:microsoft.com/office/officeart/2005/8/layout/list1"/>
    <dgm:cxn modelId="{572FC480-C11E-4FE2-821C-8E852E9D8681}" type="presParOf" srcId="{AAF36740-A9CB-4585-B817-A40C4AB9F0E5}" destId="{91B3758C-BFDF-41AD-9D65-E100BD07C2AC}" srcOrd="3" destOrd="0" presId="urn:microsoft.com/office/officeart/2005/8/layout/list1"/>
    <dgm:cxn modelId="{CC0343E3-7025-41E8-BA4F-C5D80E8628E0}" type="presParOf" srcId="{AAF36740-A9CB-4585-B817-A40C4AB9F0E5}" destId="{B0E1793A-CA48-428F-A872-F2E422A5BB20}" srcOrd="4" destOrd="0" presId="urn:microsoft.com/office/officeart/2005/8/layout/list1"/>
    <dgm:cxn modelId="{E30B6F7B-D23A-4417-A6BA-617F001E8DEC}" type="presParOf" srcId="{B0E1793A-CA48-428F-A872-F2E422A5BB20}" destId="{089D9E7F-8463-4055-B2D0-55083E11D361}" srcOrd="0" destOrd="0" presId="urn:microsoft.com/office/officeart/2005/8/layout/list1"/>
    <dgm:cxn modelId="{7DF660AD-9C20-4735-B8EB-DF31E66F63DA}" type="presParOf" srcId="{B0E1793A-CA48-428F-A872-F2E422A5BB20}" destId="{1BBF5EB9-ACCA-4DD8-BA57-9E4C0EF09BB3}" srcOrd="1" destOrd="0" presId="urn:microsoft.com/office/officeart/2005/8/layout/list1"/>
    <dgm:cxn modelId="{482D58DB-9618-4DFC-9EE5-4ABFBA740BAC}" type="presParOf" srcId="{AAF36740-A9CB-4585-B817-A40C4AB9F0E5}" destId="{851BF77C-73DD-43C7-8B78-837C90D0E56E}" srcOrd="5" destOrd="0" presId="urn:microsoft.com/office/officeart/2005/8/layout/list1"/>
    <dgm:cxn modelId="{57FEF2E5-1A61-457F-8C76-B531DE00BF53}" type="presParOf" srcId="{AAF36740-A9CB-4585-B817-A40C4AB9F0E5}" destId="{BBD178B1-BBB1-4106-9635-365E3430F6FC}" srcOrd="6" destOrd="0" presId="urn:microsoft.com/office/officeart/2005/8/layout/list1"/>
    <dgm:cxn modelId="{F1B13487-A716-48F5-8116-C3C392B38C2D}" type="presParOf" srcId="{AAF36740-A9CB-4585-B817-A40C4AB9F0E5}" destId="{905883D3-6904-4206-9B51-C474E3F30538}" srcOrd="7" destOrd="0" presId="urn:microsoft.com/office/officeart/2005/8/layout/list1"/>
    <dgm:cxn modelId="{FD0334CB-9D7B-4F79-A4B2-713CDB74B9DF}" type="presParOf" srcId="{AAF36740-A9CB-4585-B817-A40C4AB9F0E5}" destId="{3D66D662-6907-4F28-B571-823B3E554C9B}" srcOrd="8" destOrd="0" presId="urn:microsoft.com/office/officeart/2005/8/layout/list1"/>
    <dgm:cxn modelId="{2DD7969D-E655-4C23-9607-CED354FA1F2D}" type="presParOf" srcId="{3D66D662-6907-4F28-B571-823B3E554C9B}" destId="{621E053E-C8B6-458B-BE0D-72715C795C1A}" srcOrd="0" destOrd="0" presId="urn:microsoft.com/office/officeart/2005/8/layout/list1"/>
    <dgm:cxn modelId="{E18FE27F-4A65-4838-8A1D-C0939904ED72}" type="presParOf" srcId="{3D66D662-6907-4F28-B571-823B3E554C9B}" destId="{AD8D09F6-942B-4A53-B466-6D96727F3ADC}" srcOrd="1" destOrd="0" presId="urn:microsoft.com/office/officeart/2005/8/layout/list1"/>
    <dgm:cxn modelId="{DF1AA5E7-C152-4954-A376-35E4697767EB}" type="presParOf" srcId="{AAF36740-A9CB-4585-B817-A40C4AB9F0E5}" destId="{6D647711-890B-486B-9C5C-8D42AA75CD4E}" srcOrd="9" destOrd="0" presId="urn:microsoft.com/office/officeart/2005/8/layout/list1"/>
    <dgm:cxn modelId="{33AEB6BF-4F80-43BD-9DD3-5D63F307341A}" type="presParOf" srcId="{AAF36740-A9CB-4585-B817-A40C4AB9F0E5}" destId="{6DF636FF-CAF2-4E1D-B696-5E7FB2E437C5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47EE41F-E4DA-4DF8-BDA5-4909C4377C3F}" type="doc">
      <dgm:prSet loTypeId="urn:microsoft.com/office/officeart/2005/8/layout/hProcess7" loCatId="process" qsTypeId="urn:microsoft.com/office/officeart/2005/8/quickstyle/simple3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4377CDD4-F74C-4492-A63E-480D93DDF2B2}">
      <dgm:prSet phldrT="[Text]" custT="1"/>
      <dgm:spPr/>
      <dgm:t>
        <a:bodyPr/>
        <a:lstStyle/>
        <a:p>
          <a:r>
            <a:rPr lang="en-US" sz="1400" dirty="0"/>
            <a:t>Why this project?</a:t>
          </a:r>
        </a:p>
      </dgm:t>
    </dgm:pt>
    <dgm:pt modelId="{35FA7660-8B65-4488-9711-5DA1A806E634}" type="parTrans" cxnId="{AE2CEE26-218A-4BE5-AF64-0FBEE1A51BB4}">
      <dgm:prSet/>
      <dgm:spPr/>
      <dgm:t>
        <a:bodyPr/>
        <a:lstStyle/>
        <a:p>
          <a:endParaRPr lang="en-US" sz="1050"/>
        </a:p>
      </dgm:t>
    </dgm:pt>
    <dgm:pt modelId="{FE35B313-AF71-4D4D-8656-060018FBBF5A}" type="sibTrans" cxnId="{AE2CEE26-218A-4BE5-AF64-0FBEE1A51BB4}">
      <dgm:prSet/>
      <dgm:spPr/>
      <dgm:t>
        <a:bodyPr/>
        <a:lstStyle/>
        <a:p>
          <a:endParaRPr lang="en-US" sz="1050"/>
        </a:p>
      </dgm:t>
    </dgm:pt>
    <dgm:pt modelId="{621244EE-14E5-4B31-ADFA-91BD2A5C38AF}">
      <dgm:prSet phldrT="[Text]" custT="1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sz="1600" dirty="0">
              <a:latin typeface="Times New Roman" panose="02020603050405020304" pitchFamily="18" charset="0"/>
              <a:cs typeface="Times New Roman" panose="02020603050405020304" pitchFamily="18" charset="0"/>
            </a:rPr>
            <a:t>1. Non-linear and non-static  input data are commonly seen in pharmaceutical industry.</a:t>
          </a:r>
        </a:p>
        <a:p>
          <a:pPr>
            <a:buFont typeface="Arial" panose="020B0604020202020204" pitchFamily="34" charset="0"/>
            <a:buChar char="•"/>
          </a:pPr>
          <a:endParaRPr lang="en-US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>
            <a:buFont typeface="Arial" panose="020B0604020202020204" pitchFamily="34" charset="0"/>
            <a:buChar char="•"/>
          </a:pPr>
          <a:r>
            <a:rPr lang="en-US" sz="1600" dirty="0">
              <a:latin typeface="Times New Roman" panose="02020603050405020304" pitchFamily="18" charset="0"/>
              <a:cs typeface="Times New Roman" panose="02020603050405020304" pitchFamily="18" charset="0"/>
            </a:rPr>
            <a:t>2. Nature extension of PLS if we find a way to handling time components.</a:t>
          </a:r>
        </a:p>
        <a:p>
          <a:pPr>
            <a:buFont typeface="Arial" panose="020B0604020202020204" pitchFamily="34" charset="0"/>
            <a:buChar char="•"/>
          </a:pPr>
          <a:endParaRPr lang="en-US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>
            <a:buFont typeface="Arial" panose="020B0604020202020204" pitchFamily="34" charset="0"/>
            <a:buChar char="•"/>
          </a:pPr>
          <a:r>
            <a:rPr lang="en-US" sz="1600" dirty="0">
              <a:latin typeface="Times New Roman" panose="02020603050405020304" pitchFamily="18" charset="0"/>
              <a:cs typeface="Times New Roman" panose="02020603050405020304" pitchFamily="18" charset="0"/>
            </a:rPr>
            <a:t>3. Several algorithms has developed in chemical industry, knowledge transfer to pharm realm.</a:t>
          </a:r>
        </a:p>
        <a:p>
          <a:pPr>
            <a:buFont typeface="Arial" panose="020B0604020202020204" pitchFamily="34" charset="0"/>
            <a:buChar char="•"/>
          </a:pPr>
          <a:r>
            <a:rPr lang="en-US" sz="1600" dirty="0">
              <a:latin typeface="Times New Roman" panose="02020603050405020304" pitchFamily="18" charset="0"/>
              <a:cs typeface="Times New Roman" panose="02020603050405020304" pitchFamily="18" charset="0"/>
            </a:rPr>
            <a:t>.</a:t>
          </a:r>
        </a:p>
      </dgm:t>
    </dgm:pt>
    <dgm:pt modelId="{06FB2773-5F15-4CFB-AC75-9CEE883FB337}" type="parTrans" cxnId="{2EF409A5-1765-4789-8822-18C74449C2C6}">
      <dgm:prSet/>
      <dgm:spPr/>
      <dgm:t>
        <a:bodyPr/>
        <a:lstStyle/>
        <a:p>
          <a:endParaRPr lang="en-US" sz="1050"/>
        </a:p>
      </dgm:t>
    </dgm:pt>
    <dgm:pt modelId="{94A157C9-7FB6-4F6F-BDDE-4CE7DB26CEB3}" type="sibTrans" cxnId="{2EF409A5-1765-4789-8822-18C74449C2C6}">
      <dgm:prSet/>
      <dgm:spPr/>
      <dgm:t>
        <a:bodyPr/>
        <a:lstStyle/>
        <a:p>
          <a:endParaRPr lang="en-US" sz="1050"/>
        </a:p>
      </dgm:t>
    </dgm:pt>
    <dgm:pt modelId="{5E523F54-7C09-4C51-8038-BB7351F9D8CA}">
      <dgm:prSet phldrT="[Text]" custT="1"/>
      <dgm:spPr/>
      <dgm:t>
        <a:bodyPr/>
        <a:lstStyle/>
        <a:p>
          <a:r>
            <a:rPr lang="en-US" sz="1400"/>
            <a:t>Current Work</a:t>
          </a:r>
        </a:p>
      </dgm:t>
    </dgm:pt>
    <dgm:pt modelId="{AD1D2C29-3DBA-40EC-AA13-C065EA294B7B}" type="parTrans" cxnId="{6B46B1A2-D828-4A08-A6F2-FA817C9DD384}">
      <dgm:prSet/>
      <dgm:spPr/>
      <dgm:t>
        <a:bodyPr/>
        <a:lstStyle/>
        <a:p>
          <a:endParaRPr lang="en-US" sz="1050"/>
        </a:p>
      </dgm:t>
    </dgm:pt>
    <dgm:pt modelId="{DEB2A72A-DB4B-47F7-A3AC-3B546EB61F6D}" type="sibTrans" cxnId="{6B46B1A2-D828-4A08-A6F2-FA817C9DD384}">
      <dgm:prSet/>
      <dgm:spPr/>
      <dgm:t>
        <a:bodyPr/>
        <a:lstStyle/>
        <a:p>
          <a:endParaRPr lang="en-US" sz="1050"/>
        </a:p>
      </dgm:t>
    </dgm:pt>
    <dgm:pt modelId="{99817E26-BC8B-4B5E-8AE9-C7AF1D399FB4}">
      <dgm:prSet phldrT="[Text]" custT="1"/>
      <dgm:spPr/>
      <dgm:t>
        <a:bodyPr/>
        <a:lstStyle/>
        <a:p>
          <a:r>
            <a:rPr lang="en-US" sz="1600" dirty="0">
              <a:latin typeface="Times New Roman" panose="02020603050405020304" pitchFamily="18" charset="0"/>
              <a:cs typeface="Times New Roman" panose="02020603050405020304" pitchFamily="18" charset="0"/>
            </a:rPr>
            <a:t>1. Evaluate </a:t>
          </a:r>
          <a:r>
            <a:rPr lang="en-US" sz="16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DiPLS</a:t>
          </a:r>
          <a:r>
            <a:rPr lang="en-US" sz="1600" dirty="0">
              <a:latin typeface="Times New Roman" panose="02020603050405020304" pitchFamily="18" charset="0"/>
              <a:cs typeface="Times New Roman" panose="02020603050405020304" pitchFamily="18" charset="0"/>
            </a:rPr>
            <a:t> algorithms in three case studies.</a:t>
          </a:r>
        </a:p>
        <a:p>
          <a:endParaRPr lang="en-US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r>
            <a:rPr lang="en-US" sz="1600" dirty="0">
              <a:latin typeface="Times New Roman" panose="02020603050405020304" pitchFamily="18" charset="0"/>
              <a:cs typeface="Times New Roman" panose="02020603050405020304" pitchFamily="18" charset="0"/>
            </a:rPr>
            <a:t>2. For static process, </a:t>
          </a:r>
          <a:r>
            <a:rPr lang="en-US" sz="16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DiPLS</a:t>
          </a:r>
          <a:r>
            <a:rPr lang="en-US" sz="1600" dirty="0">
              <a:latin typeface="Times New Roman" panose="02020603050405020304" pitchFamily="18" charset="0"/>
              <a:cs typeface="Times New Roman" panose="02020603050405020304" pitchFamily="18" charset="0"/>
            </a:rPr>
            <a:t> can be completely recover PLS.</a:t>
          </a:r>
        </a:p>
        <a:p>
          <a:endParaRPr lang="en-US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r>
            <a:rPr lang="en-US" sz="1600" dirty="0">
              <a:latin typeface="Times New Roman" panose="02020603050405020304" pitchFamily="18" charset="0"/>
              <a:cs typeface="Times New Roman" panose="02020603050405020304" pitchFamily="18" charset="0"/>
            </a:rPr>
            <a:t>3. For dynamical process, </a:t>
          </a:r>
          <a:r>
            <a:rPr lang="en-US" sz="16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DiPLS</a:t>
          </a:r>
          <a:r>
            <a:rPr lang="en-US" sz="1600" dirty="0">
              <a:latin typeface="Times New Roman" panose="02020603050405020304" pitchFamily="18" charset="0"/>
              <a:cs typeface="Times New Roman" panose="02020603050405020304" pitchFamily="18" charset="0"/>
            </a:rPr>
            <a:t> has outperform PLS.</a:t>
          </a:r>
        </a:p>
        <a:p>
          <a:endParaRPr lang="en-US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r>
            <a:rPr lang="en-US" sz="1600" dirty="0">
              <a:latin typeface="Times New Roman" panose="02020603050405020304" pitchFamily="18" charset="0"/>
              <a:cs typeface="Times New Roman" panose="02020603050405020304" pitchFamily="18" charset="0"/>
            </a:rPr>
            <a:t>4. Parameter tunning methods; directly validation and 5fold CV.  </a:t>
          </a:r>
        </a:p>
      </dgm:t>
    </dgm:pt>
    <dgm:pt modelId="{8D17BC19-9C04-43B8-BEB0-CA15A7EAD736}" type="parTrans" cxnId="{6C76D84A-333A-469F-8972-8A049A491CC2}">
      <dgm:prSet/>
      <dgm:spPr/>
      <dgm:t>
        <a:bodyPr/>
        <a:lstStyle/>
        <a:p>
          <a:endParaRPr lang="en-US" sz="1050"/>
        </a:p>
      </dgm:t>
    </dgm:pt>
    <dgm:pt modelId="{89EB10DB-5F8E-49C2-8988-58B322A2D729}" type="sibTrans" cxnId="{6C76D84A-333A-469F-8972-8A049A491CC2}">
      <dgm:prSet/>
      <dgm:spPr/>
      <dgm:t>
        <a:bodyPr/>
        <a:lstStyle/>
        <a:p>
          <a:endParaRPr lang="en-US" sz="1050"/>
        </a:p>
      </dgm:t>
    </dgm:pt>
    <dgm:pt modelId="{007696FF-E69B-45F6-BEED-0EE33A23E343}">
      <dgm:prSet phldrT="[Text]" custT="1"/>
      <dgm:spPr/>
      <dgm:t>
        <a:bodyPr/>
        <a:lstStyle/>
        <a:p>
          <a:r>
            <a:rPr lang="en-US" sz="1400" dirty="0"/>
            <a:t>Future work</a:t>
          </a:r>
        </a:p>
      </dgm:t>
    </dgm:pt>
    <dgm:pt modelId="{DE898A96-314D-46F9-98DF-007EE6DA2449}" type="parTrans" cxnId="{299D9A54-3C66-41A8-AC83-99DB54A917CF}">
      <dgm:prSet/>
      <dgm:spPr/>
      <dgm:t>
        <a:bodyPr/>
        <a:lstStyle/>
        <a:p>
          <a:endParaRPr lang="en-US" sz="1050"/>
        </a:p>
      </dgm:t>
    </dgm:pt>
    <dgm:pt modelId="{42D81329-B067-4600-81DD-5908D81E9EFB}" type="sibTrans" cxnId="{299D9A54-3C66-41A8-AC83-99DB54A917CF}">
      <dgm:prSet/>
      <dgm:spPr/>
      <dgm:t>
        <a:bodyPr/>
        <a:lstStyle/>
        <a:p>
          <a:endParaRPr lang="en-US" sz="1050"/>
        </a:p>
      </dgm:t>
    </dgm:pt>
    <dgm:pt modelId="{F0746AE2-1737-4836-9C99-92826244D238}">
      <dgm:prSet phldrT="[Text]" custT="1"/>
      <dgm:spPr/>
      <dgm:t>
        <a:bodyPr/>
        <a:lstStyle/>
        <a:p>
          <a:r>
            <a:rPr lang="en-US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1.BEM and BLM approach.</a:t>
          </a:r>
        </a:p>
        <a:p>
          <a:endParaRPr lang="en-US" sz="1600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r>
            <a:rPr lang="en-US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2. Within PLS scheme: algorithms contains NNPLS structure and  transformations.</a:t>
          </a:r>
        </a:p>
        <a:p>
          <a:endParaRPr lang="en-US" sz="1600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r>
            <a:rPr lang="en-US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3. apply to some real data and see if it’s consistent with our synthetic data results.</a:t>
          </a:r>
        </a:p>
      </dgm:t>
    </dgm:pt>
    <dgm:pt modelId="{34CBC7E3-CA9B-42EC-8D21-8214A8DD9BF7}" type="parTrans" cxnId="{856F77B7-6252-43A0-920C-238AB9EF89F5}">
      <dgm:prSet/>
      <dgm:spPr/>
      <dgm:t>
        <a:bodyPr/>
        <a:lstStyle/>
        <a:p>
          <a:endParaRPr lang="en-US" sz="1050"/>
        </a:p>
      </dgm:t>
    </dgm:pt>
    <dgm:pt modelId="{D20563BF-0887-4E31-A424-91236FB6D3DA}" type="sibTrans" cxnId="{856F77B7-6252-43A0-920C-238AB9EF89F5}">
      <dgm:prSet/>
      <dgm:spPr/>
      <dgm:t>
        <a:bodyPr/>
        <a:lstStyle/>
        <a:p>
          <a:endParaRPr lang="en-US" sz="1050"/>
        </a:p>
      </dgm:t>
    </dgm:pt>
    <dgm:pt modelId="{EC5BD94D-DE10-40B1-927E-1C76DDFE52F8}" type="pres">
      <dgm:prSet presAssocID="{547EE41F-E4DA-4DF8-BDA5-4909C4377C3F}" presName="Name0" presStyleCnt="0">
        <dgm:presLayoutVars>
          <dgm:dir/>
          <dgm:animLvl val="lvl"/>
          <dgm:resizeHandles val="exact"/>
        </dgm:presLayoutVars>
      </dgm:prSet>
      <dgm:spPr/>
    </dgm:pt>
    <dgm:pt modelId="{7348245F-8B24-423E-8447-24D39477621E}" type="pres">
      <dgm:prSet presAssocID="{4377CDD4-F74C-4492-A63E-480D93DDF2B2}" presName="compositeNode" presStyleCnt="0">
        <dgm:presLayoutVars>
          <dgm:bulletEnabled val="1"/>
        </dgm:presLayoutVars>
      </dgm:prSet>
      <dgm:spPr/>
    </dgm:pt>
    <dgm:pt modelId="{E8CFBD3D-4ECB-49D9-980D-D971EC390F24}" type="pres">
      <dgm:prSet presAssocID="{4377CDD4-F74C-4492-A63E-480D93DDF2B2}" presName="bgRect" presStyleLbl="node1" presStyleIdx="0" presStyleCnt="3"/>
      <dgm:spPr/>
    </dgm:pt>
    <dgm:pt modelId="{77329D87-D537-4F0F-853A-F8FDFE514CFF}" type="pres">
      <dgm:prSet presAssocID="{4377CDD4-F74C-4492-A63E-480D93DDF2B2}" presName="parentNode" presStyleLbl="node1" presStyleIdx="0" presStyleCnt="3">
        <dgm:presLayoutVars>
          <dgm:chMax val="0"/>
          <dgm:bulletEnabled val="1"/>
        </dgm:presLayoutVars>
      </dgm:prSet>
      <dgm:spPr/>
    </dgm:pt>
    <dgm:pt modelId="{DF07D3B4-BD28-4749-B56E-AAA716B02191}" type="pres">
      <dgm:prSet presAssocID="{4377CDD4-F74C-4492-A63E-480D93DDF2B2}" presName="childNode" presStyleLbl="node1" presStyleIdx="0" presStyleCnt="3">
        <dgm:presLayoutVars>
          <dgm:bulletEnabled val="1"/>
        </dgm:presLayoutVars>
      </dgm:prSet>
      <dgm:spPr/>
    </dgm:pt>
    <dgm:pt modelId="{16656EB9-ECFF-4A60-A8EA-75BD4AB09DFA}" type="pres">
      <dgm:prSet presAssocID="{FE35B313-AF71-4D4D-8656-060018FBBF5A}" presName="hSp" presStyleCnt="0"/>
      <dgm:spPr/>
    </dgm:pt>
    <dgm:pt modelId="{9DC40FF6-228F-4F9D-8A34-8DE8E54CFF7B}" type="pres">
      <dgm:prSet presAssocID="{FE35B313-AF71-4D4D-8656-060018FBBF5A}" presName="vProcSp" presStyleCnt="0"/>
      <dgm:spPr/>
    </dgm:pt>
    <dgm:pt modelId="{D47763BE-8203-46F7-8018-149E9DA2F591}" type="pres">
      <dgm:prSet presAssocID="{FE35B313-AF71-4D4D-8656-060018FBBF5A}" presName="vSp1" presStyleCnt="0"/>
      <dgm:spPr/>
    </dgm:pt>
    <dgm:pt modelId="{53281BD4-2F1D-4AF0-832F-04056D5D0555}" type="pres">
      <dgm:prSet presAssocID="{FE35B313-AF71-4D4D-8656-060018FBBF5A}" presName="simulatedConn" presStyleLbl="solidFgAcc1" presStyleIdx="0" presStyleCnt="2"/>
      <dgm:spPr/>
    </dgm:pt>
    <dgm:pt modelId="{06CC0352-CFE3-45BE-B863-8E78F4B3A906}" type="pres">
      <dgm:prSet presAssocID="{FE35B313-AF71-4D4D-8656-060018FBBF5A}" presName="vSp2" presStyleCnt="0"/>
      <dgm:spPr/>
    </dgm:pt>
    <dgm:pt modelId="{D9857B6A-E517-4944-86FD-3E4418B58308}" type="pres">
      <dgm:prSet presAssocID="{FE35B313-AF71-4D4D-8656-060018FBBF5A}" presName="sibTrans" presStyleCnt="0"/>
      <dgm:spPr/>
    </dgm:pt>
    <dgm:pt modelId="{3476CBD8-93A9-4A6E-8ED1-76E39321F243}" type="pres">
      <dgm:prSet presAssocID="{5E523F54-7C09-4C51-8038-BB7351F9D8CA}" presName="compositeNode" presStyleCnt="0">
        <dgm:presLayoutVars>
          <dgm:bulletEnabled val="1"/>
        </dgm:presLayoutVars>
      </dgm:prSet>
      <dgm:spPr/>
    </dgm:pt>
    <dgm:pt modelId="{B549452F-5D8E-4022-A983-B0059AE73F58}" type="pres">
      <dgm:prSet presAssocID="{5E523F54-7C09-4C51-8038-BB7351F9D8CA}" presName="bgRect" presStyleLbl="node1" presStyleIdx="1" presStyleCnt="3"/>
      <dgm:spPr/>
    </dgm:pt>
    <dgm:pt modelId="{B09E1466-B403-4171-9C90-03CF658A2704}" type="pres">
      <dgm:prSet presAssocID="{5E523F54-7C09-4C51-8038-BB7351F9D8CA}" presName="parentNode" presStyleLbl="node1" presStyleIdx="1" presStyleCnt="3">
        <dgm:presLayoutVars>
          <dgm:chMax val="0"/>
          <dgm:bulletEnabled val="1"/>
        </dgm:presLayoutVars>
      </dgm:prSet>
      <dgm:spPr/>
    </dgm:pt>
    <dgm:pt modelId="{AC03B876-6E10-400D-8AA6-9A5BA4E850F5}" type="pres">
      <dgm:prSet presAssocID="{5E523F54-7C09-4C51-8038-BB7351F9D8CA}" presName="childNode" presStyleLbl="node1" presStyleIdx="1" presStyleCnt="3">
        <dgm:presLayoutVars>
          <dgm:bulletEnabled val="1"/>
        </dgm:presLayoutVars>
      </dgm:prSet>
      <dgm:spPr/>
    </dgm:pt>
    <dgm:pt modelId="{A93E685E-E902-4D75-9CE7-005E9B8EA676}" type="pres">
      <dgm:prSet presAssocID="{DEB2A72A-DB4B-47F7-A3AC-3B546EB61F6D}" presName="hSp" presStyleCnt="0"/>
      <dgm:spPr/>
    </dgm:pt>
    <dgm:pt modelId="{36F89E8E-2CD1-4481-885D-3D01B97DF78F}" type="pres">
      <dgm:prSet presAssocID="{DEB2A72A-DB4B-47F7-A3AC-3B546EB61F6D}" presName="vProcSp" presStyleCnt="0"/>
      <dgm:spPr/>
    </dgm:pt>
    <dgm:pt modelId="{CFF6D874-9605-4293-97FA-2D6A9C713FF1}" type="pres">
      <dgm:prSet presAssocID="{DEB2A72A-DB4B-47F7-A3AC-3B546EB61F6D}" presName="vSp1" presStyleCnt="0"/>
      <dgm:spPr/>
    </dgm:pt>
    <dgm:pt modelId="{906E2D48-9418-42E0-A49E-0A6203BDE6B8}" type="pres">
      <dgm:prSet presAssocID="{DEB2A72A-DB4B-47F7-A3AC-3B546EB61F6D}" presName="simulatedConn" presStyleLbl="solidFgAcc1" presStyleIdx="1" presStyleCnt="2"/>
      <dgm:spPr/>
    </dgm:pt>
    <dgm:pt modelId="{3FECCEF0-9DB2-4A8E-BBD4-DEA4E6F05FB8}" type="pres">
      <dgm:prSet presAssocID="{DEB2A72A-DB4B-47F7-A3AC-3B546EB61F6D}" presName="vSp2" presStyleCnt="0"/>
      <dgm:spPr/>
    </dgm:pt>
    <dgm:pt modelId="{07B8B150-DD73-4F02-A7B5-8FDEEF14203E}" type="pres">
      <dgm:prSet presAssocID="{DEB2A72A-DB4B-47F7-A3AC-3B546EB61F6D}" presName="sibTrans" presStyleCnt="0"/>
      <dgm:spPr/>
    </dgm:pt>
    <dgm:pt modelId="{4A6F386F-E172-42C3-A2F7-766498748C02}" type="pres">
      <dgm:prSet presAssocID="{007696FF-E69B-45F6-BEED-0EE33A23E343}" presName="compositeNode" presStyleCnt="0">
        <dgm:presLayoutVars>
          <dgm:bulletEnabled val="1"/>
        </dgm:presLayoutVars>
      </dgm:prSet>
      <dgm:spPr/>
    </dgm:pt>
    <dgm:pt modelId="{1CCBA4E2-D512-4CF6-8426-C78999779D13}" type="pres">
      <dgm:prSet presAssocID="{007696FF-E69B-45F6-BEED-0EE33A23E343}" presName="bgRect" presStyleLbl="node1" presStyleIdx="2" presStyleCnt="3" custScaleX="103701" custLinFactNeighborX="36"/>
      <dgm:spPr/>
    </dgm:pt>
    <dgm:pt modelId="{0FDAB7FF-8CA3-4F38-8493-A9FF3E370146}" type="pres">
      <dgm:prSet presAssocID="{007696FF-E69B-45F6-BEED-0EE33A23E343}" presName="parentNode" presStyleLbl="node1" presStyleIdx="2" presStyleCnt="3">
        <dgm:presLayoutVars>
          <dgm:chMax val="0"/>
          <dgm:bulletEnabled val="1"/>
        </dgm:presLayoutVars>
      </dgm:prSet>
      <dgm:spPr/>
    </dgm:pt>
    <dgm:pt modelId="{FF555A70-B477-4603-B829-D8125E1EFB2F}" type="pres">
      <dgm:prSet presAssocID="{007696FF-E69B-45F6-BEED-0EE33A23E343}" presName="childNode" presStyleLbl="node1" presStyleIdx="2" presStyleCnt="3">
        <dgm:presLayoutVars>
          <dgm:bulletEnabled val="1"/>
        </dgm:presLayoutVars>
      </dgm:prSet>
      <dgm:spPr/>
    </dgm:pt>
  </dgm:ptLst>
  <dgm:cxnLst>
    <dgm:cxn modelId="{4761D30B-A334-42DB-9372-839011D7192C}" type="presOf" srcId="{F0746AE2-1737-4836-9C99-92826244D238}" destId="{FF555A70-B477-4603-B829-D8125E1EFB2F}" srcOrd="0" destOrd="0" presId="urn:microsoft.com/office/officeart/2005/8/layout/hProcess7"/>
    <dgm:cxn modelId="{AE2CEE26-218A-4BE5-AF64-0FBEE1A51BB4}" srcId="{547EE41F-E4DA-4DF8-BDA5-4909C4377C3F}" destId="{4377CDD4-F74C-4492-A63E-480D93DDF2B2}" srcOrd="0" destOrd="0" parTransId="{35FA7660-8B65-4488-9711-5DA1A806E634}" sibTransId="{FE35B313-AF71-4D4D-8656-060018FBBF5A}"/>
    <dgm:cxn modelId="{D76FCE36-A5CC-42F4-8ACB-105B74894AB4}" type="presOf" srcId="{007696FF-E69B-45F6-BEED-0EE33A23E343}" destId="{1CCBA4E2-D512-4CF6-8426-C78999779D13}" srcOrd="0" destOrd="0" presId="urn:microsoft.com/office/officeart/2005/8/layout/hProcess7"/>
    <dgm:cxn modelId="{30160761-FC0D-4C53-9297-0A69B5C02004}" type="presOf" srcId="{5E523F54-7C09-4C51-8038-BB7351F9D8CA}" destId="{B549452F-5D8E-4022-A983-B0059AE73F58}" srcOrd="0" destOrd="0" presId="urn:microsoft.com/office/officeart/2005/8/layout/hProcess7"/>
    <dgm:cxn modelId="{E7133968-417D-4301-A983-F8D67DDB2323}" type="presOf" srcId="{007696FF-E69B-45F6-BEED-0EE33A23E343}" destId="{0FDAB7FF-8CA3-4F38-8493-A9FF3E370146}" srcOrd="1" destOrd="0" presId="urn:microsoft.com/office/officeart/2005/8/layout/hProcess7"/>
    <dgm:cxn modelId="{6C76D84A-333A-469F-8972-8A049A491CC2}" srcId="{5E523F54-7C09-4C51-8038-BB7351F9D8CA}" destId="{99817E26-BC8B-4B5E-8AE9-C7AF1D399FB4}" srcOrd="0" destOrd="0" parTransId="{8D17BC19-9C04-43B8-BEB0-CA15A7EAD736}" sibTransId="{89EB10DB-5F8E-49C2-8988-58B322A2D729}"/>
    <dgm:cxn modelId="{4F36764B-DADC-40BE-9F19-3475013D7B5A}" type="presOf" srcId="{4377CDD4-F74C-4492-A63E-480D93DDF2B2}" destId="{E8CFBD3D-4ECB-49D9-980D-D971EC390F24}" srcOrd="0" destOrd="0" presId="urn:microsoft.com/office/officeart/2005/8/layout/hProcess7"/>
    <dgm:cxn modelId="{299D9A54-3C66-41A8-AC83-99DB54A917CF}" srcId="{547EE41F-E4DA-4DF8-BDA5-4909C4377C3F}" destId="{007696FF-E69B-45F6-BEED-0EE33A23E343}" srcOrd="2" destOrd="0" parTransId="{DE898A96-314D-46F9-98DF-007EE6DA2449}" sibTransId="{42D81329-B067-4600-81DD-5908D81E9EFB}"/>
    <dgm:cxn modelId="{ED17C85A-9F8C-474C-B36A-6E03905AB100}" type="presOf" srcId="{621244EE-14E5-4B31-ADFA-91BD2A5C38AF}" destId="{DF07D3B4-BD28-4749-B56E-AAA716B02191}" srcOrd="0" destOrd="0" presId="urn:microsoft.com/office/officeart/2005/8/layout/hProcess7"/>
    <dgm:cxn modelId="{6B46B1A2-D828-4A08-A6F2-FA817C9DD384}" srcId="{547EE41F-E4DA-4DF8-BDA5-4909C4377C3F}" destId="{5E523F54-7C09-4C51-8038-BB7351F9D8CA}" srcOrd="1" destOrd="0" parTransId="{AD1D2C29-3DBA-40EC-AA13-C065EA294B7B}" sibTransId="{DEB2A72A-DB4B-47F7-A3AC-3B546EB61F6D}"/>
    <dgm:cxn modelId="{2EF409A5-1765-4789-8822-18C74449C2C6}" srcId="{4377CDD4-F74C-4492-A63E-480D93DDF2B2}" destId="{621244EE-14E5-4B31-ADFA-91BD2A5C38AF}" srcOrd="0" destOrd="0" parTransId="{06FB2773-5F15-4CFB-AC75-9CEE883FB337}" sibTransId="{94A157C9-7FB6-4F6F-BDDE-4CE7DB26CEB3}"/>
    <dgm:cxn modelId="{7E62EFA7-BD97-4764-87DC-C2D21D9C58BE}" type="presOf" srcId="{5E523F54-7C09-4C51-8038-BB7351F9D8CA}" destId="{B09E1466-B403-4171-9C90-03CF658A2704}" srcOrd="1" destOrd="0" presId="urn:microsoft.com/office/officeart/2005/8/layout/hProcess7"/>
    <dgm:cxn modelId="{F50B86B1-C0F4-46B3-80D9-95E81117EDC4}" type="presOf" srcId="{4377CDD4-F74C-4492-A63E-480D93DDF2B2}" destId="{77329D87-D537-4F0F-853A-F8FDFE514CFF}" srcOrd="1" destOrd="0" presId="urn:microsoft.com/office/officeart/2005/8/layout/hProcess7"/>
    <dgm:cxn modelId="{C51730B6-2F9D-48B0-B81C-32C20F694400}" type="presOf" srcId="{547EE41F-E4DA-4DF8-BDA5-4909C4377C3F}" destId="{EC5BD94D-DE10-40B1-927E-1C76DDFE52F8}" srcOrd="0" destOrd="0" presId="urn:microsoft.com/office/officeart/2005/8/layout/hProcess7"/>
    <dgm:cxn modelId="{856F77B7-6252-43A0-920C-238AB9EF89F5}" srcId="{007696FF-E69B-45F6-BEED-0EE33A23E343}" destId="{F0746AE2-1737-4836-9C99-92826244D238}" srcOrd="0" destOrd="0" parTransId="{34CBC7E3-CA9B-42EC-8D21-8214A8DD9BF7}" sibTransId="{D20563BF-0887-4E31-A424-91236FB6D3DA}"/>
    <dgm:cxn modelId="{57AC10E0-E1A0-4009-BD71-E08D4232AB17}" type="presOf" srcId="{99817E26-BC8B-4B5E-8AE9-C7AF1D399FB4}" destId="{AC03B876-6E10-400D-8AA6-9A5BA4E850F5}" srcOrd="0" destOrd="0" presId="urn:microsoft.com/office/officeart/2005/8/layout/hProcess7"/>
    <dgm:cxn modelId="{D206D1E0-D443-4801-9AAC-4717F667FACA}" type="presParOf" srcId="{EC5BD94D-DE10-40B1-927E-1C76DDFE52F8}" destId="{7348245F-8B24-423E-8447-24D39477621E}" srcOrd="0" destOrd="0" presId="urn:microsoft.com/office/officeart/2005/8/layout/hProcess7"/>
    <dgm:cxn modelId="{76C69D05-1BC6-46D4-AF6B-96BEEAD7239D}" type="presParOf" srcId="{7348245F-8B24-423E-8447-24D39477621E}" destId="{E8CFBD3D-4ECB-49D9-980D-D971EC390F24}" srcOrd="0" destOrd="0" presId="urn:microsoft.com/office/officeart/2005/8/layout/hProcess7"/>
    <dgm:cxn modelId="{95DD52A0-04A2-457B-BA28-143E8C299AAE}" type="presParOf" srcId="{7348245F-8B24-423E-8447-24D39477621E}" destId="{77329D87-D537-4F0F-853A-F8FDFE514CFF}" srcOrd="1" destOrd="0" presId="urn:microsoft.com/office/officeart/2005/8/layout/hProcess7"/>
    <dgm:cxn modelId="{256F42F1-1CA6-4A39-87DC-43686B09F1EC}" type="presParOf" srcId="{7348245F-8B24-423E-8447-24D39477621E}" destId="{DF07D3B4-BD28-4749-B56E-AAA716B02191}" srcOrd="2" destOrd="0" presId="urn:microsoft.com/office/officeart/2005/8/layout/hProcess7"/>
    <dgm:cxn modelId="{F52C4EBB-D998-4E7E-A7E8-0AC4688695F1}" type="presParOf" srcId="{EC5BD94D-DE10-40B1-927E-1C76DDFE52F8}" destId="{16656EB9-ECFF-4A60-A8EA-75BD4AB09DFA}" srcOrd="1" destOrd="0" presId="urn:microsoft.com/office/officeart/2005/8/layout/hProcess7"/>
    <dgm:cxn modelId="{969C7607-B4ED-4F84-936C-B0D0966086C8}" type="presParOf" srcId="{EC5BD94D-DE10-40B1-927E-1C76DDFE52F8}" destId="{9DC40FF6-228F-4F9D-8A34-8DE8E54CFF7B}" srcOrd="2" destOrd="0" presId="urn:microsoft.com/office/officeart/2005/8/layout/hProcess7"/>
    <dgm:cxn modelId="{F2A24B57-0733-4562-9DAC-62997709F342}" type="presParOf" srcId="{9DC40FF6-228F-4F9D-8A34-8DE8E54CFF7B}" destId="{D47763BE-8203-46F7-8018-149E9DA2F591}" srcOrd="0" destOrd="0" presId="urn:microsoft.com/office/officeart/2005/8/layout/hProcess7"/>
    <dgm:cxn modelId="{361C528A-4E0E-46F9-90C6-8A51970A7302}" type="presParOf" srcId="{9DC40FF6-228F-4F9D-8A34-8DE8E54CFF7B}" destId="{53281BD4-2F1D-4AF0-832F-04056D5D0555}" srcOrd="1" destOrd="0" presId="urn:microsoft.com/office/officeart/2005/8/layout/hProcess7"/>
    <dgm:cxn modelId="{B8B449B2-C4D3-4917-A73B-6F053179D301}" type="presParOf" srcId="{9DC40FF6-228F-4F9D-8A34-8DE8E54CFF7B}" destId="{06CC0352-CFE3-45BE-B863-8E78F4B3A906}" srcOrd="2" destOrd="0" presId="urn:microsoft.com/office/officeart/2005/8/layout/hProcess7"/>
    <dgm:cxn modelId="{AA684A50-E096-453A-8F2A-269F9EBA40EB}" type="presParOf" srcId="{EC5BD94D-DE10-40B1-927E-1C76DDFE52F8}" destId="{D9857B6A-E517-4944-86FD-3E4418B58308}" srcOrd="3" destOrd="0" presId="urn:microsoft.com/office/officeart/2005/8/layout/hProcess7"/>
    <dgm:cxn modelId="{A49F7C64-0CB0-4C24-90DE-1C5F4CCB28B8}" type="presParOf" srcId="{EC5BD94D-DE10-40B1-927E-1C76DDFE52F8}" destId="{3476CBD8-93A9-4A6E-8ED1-76E39321F243}" srcOrd="4" destOrd="0" presId="urn:microsoft.com/office/officeart/2005/8/layout/hProcess7"/>
    <dgm:cxn modelId="{65A71E5B-DCDE-4DD5-A324-1E9EA7375005}" type="presParOf" srcId="{3476CBD8-93A9-4A6E-8ED1-76E39321F243}" destId="{B549452F-5D8E-4022-A983-B0059AE73F58}" srcOrd="0" destOrd="0" presId="urn:microsoft.com/office/officeart/2005/8/layout/hProcess7"/>
    <dgm:cxn modelId="{674E3599-AA78-436F-8ED1-A95B51827EBF}" type="presParOf" srcId="{3476CBD8-93A9-4A6E-8ED1-76E39321F243}" destId="{B09E1466-B403-4171-9C90-03CF658A2704}" srcOrd="1" destOrd="0" presId="urn:microsoft.com/office/officeart/2005/8/layout/hProcess7"/>
    <dgm:cxn modelId="{6BA2F40C-CE89-49EC-939F-6AC9FAA03F73}" type="presParOf" srcId="{3476CBD8-93A9-4A6E-8ED1-76E39321F243}" destId="{AC03B876-6E10-400D-8AA6-9A5BA4E850F5}" srcOrd="2" destOrd="0" presId="urn:microsoft.com/office/officeart/2005/8/layout/hProcess7"/>
    <dgm:cxn modelId="{AABA9467-740F-4126-AC9D-2340429748DD}" type="presParOf" srcId="{EC5BD94D-DE10-40B1-927E-1C76DDFE52F8}" destId="{A93E685E-E902-4D75-9CE7-005E9B8EA676}" srcOrd="5" destOrd="0" presId="urn:microsoft.com/office/officeart/2005/8/layout/hProcess7"/>
    <dgm:cxn modelId="{EB9DA8F9-1546-418A-B25C-6AB804EA7EF0}" type="presParOf" srcId="{EC5BD94D-DE10-40B1-927E-1C76DDFE52F8}" destId="{36F89E8E-2CD1-4481-885D-3D01B97DF78F}" srcOrd="6" destOrd="0" presId="urn:microsoft.com/office/officeart/2005/8/layout/hProcess7"/>
    <dgm:cxn modelId="{3CF4D380-0C4B-46C4-A361-61B0A6EA4CEF}" type="presParOf" srcId="{36F89E8E-2CD1-4481-885D-3D01B97DF78F}" destId="{CFF6D874-9605-4293-97FA-2D6A9C713FF1}" srcOrd="0" destOrd="0" presId="urn:microsoft.com/office/officeart/2005/8/layout/hProcess7"/>
    <dgm:cxn modelId="{51DD257F-818D-472D-9601-10B3B29BB54C}" type="presParOf" srcId="{36F89E8E-2CD1-4481-885D-3D01B97DF78F}" destId="{906E2D48-9418-42E0-A49E-0A6203BDE6B8}" srcOrd="1" destOrd="0" presId="urn:microsoft.com/office/officeart/2005/8/layout/hProcess7"/>
    <dgm:cxn modelId="{0214955D-8A97-414D-A57B-2305C4FB19EB}" type="presParOf" srcId="{36F89E8E-2CD1-4481-885D-3D01B97DF78F}" destId="{3FECCEF0-9DB2-4A8E-BBD4-DEA4E6F05FB8}" srcOrd="2" destOrd="0" presId="urn:microsoft.com/office/officeart/2005/8/layout/hProcess7"/>
    <dgm:cxn modelId="{BF8FECD9-58A9-4BE0-A46F-0808F462F380}" type="presParOf" srcId="{EC5BD94D-DE10-40B1-927E-1C76DDFE52F8}" destId="{07B8B150-DD73-4F02-A7B5-8FDEEF14203E}" srcOrd="7" destOrd="0" presId="urn:microsoft.com/office/officeart/2005/8/layout/hProcess7"/>
    <dgm:cxn modelId="{B5263E9A-854D-4364-8668-EA1150D9CA94}" type="presParOf" srcId="{EC5BD94D-DE10-40B1-927E-1C76DDFE52F8}" destId="{4A6F386F-E172-42C3-A2F7-766498748C02}" srcOrd="8" destOrd="0" presId="urn:microsoft.com/office/officeart/2005/8/layout/hProcess7"/>
    <dgm:cxn modelId="{C9A33EDE-0785-4651-9327-FCDA36AEB7EC}" type="presParOf" srcId="{4A6F386F-E172-42C3-A2F7-766498748C02}" destId="{1CCBA4E2-D512-4CF6-8426-C78999779D13}" srcOrd="0" destOrd="0" presId="urn:microsoft.com/office/officeart/2005/8/layout/hProcess7"/>
    <dgm:cxn modelId="{45D67B4A-8F85-44A1-BEAF-82E4A25A6277}" type="presParOf" srcId="{4A6F386F-E172-42C3-A2F7-766498748C02}" destId="{0FDAB7FF-8CA3-4F38-8493-A9FF3E370146}" srcOrd="1" destOrd="0" presId="urn:microsoft.com/office/officeart/2005/8/layout/hProcess7"/>
    <dgm:cxn modelId="{5A58BE46-98AA-4751-8E1E-05077E758474}" type="presParOf" srcId="{4A6F386F-E172-42C3-A2F7-766498748C02}" destId="{FF555A70-B477-4603-B829-D8125E1EFB2F}" srcOrd="2" destOrd="0" presId="urn:microsoft.com/office/officeart/2005/8/layout/hProcess7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8583AFE-3C8C-47FD-BFB2-02EA5AB75BA3}">
      <dsp:nvSpPr>
        <dsp:cNvPr id="0" name=""/>
        <dsp:cNvSpPr/>
      </dsp:nvSpPr>
      <dsp:spPr>
        <a:xfrm>
          <a:off x="0" y="327171"/>
          <a:ext cx="5169541" cy="75127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01214" tIns="374904" rIns="401214" bIns="128016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/>
            <a:t>Vicky R. Zhu</a:t>
          </a:r>
        </a:p>
      </dsp:txBody>
      <dsp:txXfrm>
        <a:off x="0" y="327171"/>
        <a:ext cx="5169541" cy="751275"/>
      </dsp:txXfrm>
    </dsp:sp>
    <dsp:sp modelId="{5DD90B94-8FEA-4799-947B-824E328FD00E}">
      <dsp:nvSpPr>
        <dsp:cNvPr id="0" name=""/>
        <dsp:cNvSpPr/>
      </dsp:nvSpPr>
      <dsp:spPr>
        <a:xfrm>
          <a:off x="258477" y="61491"/>
          <a:ext cx="3618678" cy="5313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6777" tIns="0" rIns="136777" bIns="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Name</a:t>
          </a:r>
        </a:p>
      </dsp:txBody>
      <dsp:txXfrm>
        <a:off x="284416" y="87430"/>
        <a:ext cx="3566800" cy="479482"/>
      </dsp:txXfrm>
    </dsp:sp>
    <dsp:sp modelId="{BBD178B1-BBB1-4106-9635-365E3430F6FC}">
      <dsp:nvSpPr>
        <dsp:cNvPr id="0" name=""/>
        <dsp:cNvSpPr/>
      </dsp:nvSpPr>
      <dsp:spPr>
        <a:xfrm>
          <a:off x="0" y="1441326"/>
          <a:ext cx="5169541" cy="1474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01214" tIns="374904" rIns="401214" bIns="128016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i="1" kern="1200" dirty="0"/>
            <a:t>Ph.D. Candidate</a:t>
          </a:r>
          <a:r>
            <a:rPr lang="en-US" sz="1800" kern="1200" dirty="0"/>
            <a:t> in Applied &amp; Computational Mathematics and Statistics department, University of Notre Dame (U.S.)</a:t>
          </a:r>
        </a:p>
      </dsp:txBody>
      <dsp:txXfrm>
        <a:off x="0" y="1441326"/>
        <a:ext cx="5169541" cy="1474200"/>
      </dsp:txXfrm>
    </dsp:sp>
    <dsp:sp modelId="{1BBF5EB9-ACCA-4DD8-BA57-9E4C0EF09BB3}">
      <dsp:nvSpPr>
        <dsp:cNvPr id="0" name=""/>
        <dsp:cNvSpPr/>
      </dsp:nvSpPr>
      <dsp:spPr>
        <a:xfrm>
          <a:off x="258477" y="1175646"/>
          <a:ext cx="3618678" cy="5313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6777" tIns="0" rIns="136777" bIns="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Education</a:t>
          </a:r>
        </a:p>
      </dsp:txBody>
      <dsp:txXfrm>
        <a:off x="284416" y="1201585"/>
        <a:ext cx="3566800" cy="479482"/>
      </dsp:txXfrm>
    </dsp:sp>
    <dsp:sp modelId="{6DF636FF-CAF2-4E1D-B696-5E7FB2E437C5}">
      <dsp:nvSpPr>
        <dsp:cNvPr id="0" name=""/>
        <dsp:cNvSpPr/>
      </dsp:nvSpPr>
      <dsp:spPr>
        <a:xfrm>
          <a:off x="0" y="3228644"/>
          <a:ext cx="5169541" cy="1814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01214" tIns="374904" rIns="401214" bIns="128016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/>
            <a:t>Pharmaceuticals Division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b="0" i="0" kern="1200" dirty="0"/>
            <a:t>Dept.: BDSD/DSS, Berkeley</a:t>
          </a:r>
          <a:endParaRPr lang="en-US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/>
            <a:t>Advisor: Shyam Panjwani, Hao Wei, and Kostas </a:t>
          </a:r>
          <a:r>
            <a:rPr lang="en-US" sz="1800" kern="1200" dirty="0" err="1"/>
            <a:t>Spetsieris</a:t>
          </a:r>
          <a:endParaRPr lang="en-US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800" kern="1200" dirty="0"/>
        </a:p>
      </dsp:txBody>
      <dsp:txXfrm>
        <a:off x="0" y="3228644"/>
        <a:ext cx="5169541" cy="1814400"/>
      </dsp:txXfrm>
    </dsp:sp>
    <dsp:sp modelId="{AD8D09F6-942B-4A53-B466-6D96727F3ADC}">
      <dsp:nvSpPr>
        <dsp:cNvPr id="0" name=""/>
        <dsp:cNvSpPr/>
      </dsp:nvSpPr>
      <dsp:spPr>
        <a:xfrm>
          <a:off x="258477" y="3012726"/>
          <a:ext cx="3618678" cy="5313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6777" tIns="0" rIns="136777" bIns="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Intern Group</a:t>
          </a:r>
        </a:p>
      </dsp:txBody>
      <dsp:txXfrm>
        <a:off x="284416" y="3038665"/>
        <a:ext cx="3566800" cy="47948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8CFBD3D-4ECB-49D9-980D-D971EC390F24}">
      <dsp:nvSpPr>
        <dsp:cNvPr id="0" name=""/>
        <dsp:cNvSpPr/>
      </dsp:nvSpPr>
      <dsp:spPr>
        <a:xfrm>
          <a:off x="1330" y="595403"/>
          <a:ext cx="3649837" cy="4379804"/>
        </a:xfrm>
        <a:prstGeom prst="roundRect">
          <a:avLst>
            <a:gd name="adj" fmla="val 5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48006" rIns="62230" bIns="0" numCol="1" spcCol="1270" anchor="t" anchorCtr="0">
          <a:noAutofit/>
        </a:bodyPr>
        <a:lstStyle/>
        <a:p>
          <a:pPr marL="0" lvl="0" indent="0" algn="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Why this project?</a:t>
          </a:r>
        </a:p>
      </dsp:txBody>
      <dsp:txXfrm rot="16200000">
        <a:off x="-1429405" y="2026139"/>
        <a:ext cx="3591439" cy="729967"/>
      </dsp:txXfrm>
    </dsp:sp>
    <dsp:sp modelId="{DF07D3B4-BD28-4749-B56E-AAA716B02191}">
      <dsp:nvSpPr>
        <dsp:cNvPr id="0" name=""/>
        <dsp:cNvSpPr/>
      </dsp:nvSpPr>
      <dsp:spPr>
        <a:xfrm>
          <a:off x="731297" y="595403"/>
          <a:ext cx="2719128" cy="4379804"/>
        </a:xfrm>
        <a:prstGeom prst="rect">
          <a:avLst/>
        </a:prstGeom>
        <a:noFill/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/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54864" rIns="0" bIns="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6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1. Non-linear and non-static  input data are commonly seen in pharmaceutical industry.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endParaRPr lang="en-US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6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2. Nature extension of PLS if we find a way to handling time components.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endParaRPr lang="en-US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6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3. Several algorithms has developed in chemical industry, knowledge transfer to pharm realm.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6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.</a:t>
          </a:r>
        </a:p>
      </dsp:txBody>
      <dsp:txXfrm>
        <a:off x="731297" y="595403"/>
        <a:ext cx="2719128" cy="4379804"/>
      </dsp:txXfrm>
    </dsp:sp>
    <dsp:sp modelId="{B549452F-5D8E-4022-A983-B0059AE73F58}">
      <dsp:nvSpPr>
        <dsp:cNvPr id="0" name=""/>
        <dsp:cNvSpPr/>
      </dsp:nvSpPr>
      <dsp:spPr>
        <a:xfrm>
          <a:off x="3778912" y="595403"/>
          <a:ext cx="3649837" cy="4379804"/>
        </a:xfrm>
        <a:prstGeom prst="roundRect">
          <a:avLst>
            <a:gd name="adj" fmla="val 5000"/>
          </a:avLst>
        </a:prstGeom>
        <a:gradFill rotWithShape="0">
          <a:gsLst>
            <a:gs pos="0">
              <a:schemeClr val="accent3">
                <a:hueOff val="-1916577"/>
                <a:satOff val="-16269"/>
                <a:lumOff val="18038"/>
                <a:alphaOff val="0"/>
                <a:tint val="50000"/>
                <a:satMod val="300000"/>
              </a:schemeClr>
            </a:gs>
            <a:gs pos="35000">
              <a:schemeClr val="accent3">
                <a:hueOff val="-1916577"/>
                <a:satOff val="-16269"/>
                <a:lumOff val="18038"/>
                <a:alphaOff val="0"/>
                <a:tint val="37000"/>
                <a:satMod val="300000"/>
              </a:schemeClr>
            </a:gs>
            <a:gs pos="100000">
              <a:schemeClr val="accent3">
                <a:hueOff val="-1916577"/>
                <a:satOff val="-16269"/>
                <a:lumOff val="18038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48006" rIns="62230" bIns="0" numCol="1" spcCol="1270" anchor="t" anchorCtr="0">
          <a:noAutofit/>
        </a:bodyPr>
        <a:lstStyle/>
        <a:p>
          <a:pPr marL="0" lvl="0" indent="0" algn="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Current Work</a:t>
          </a:r>
        </a:p>
      </dsp:txBody>
      <dsp:txXfrm rot="16200000">
        <a:off x="2348175" y="2026139"/>
        <a:ext cx="3591439" cy="729967"/>
      </dsp:txXfrm>
    </dsp:sp>
    <dsp:sp modelId="{53281BD4-2F1D-4AF0-832F-04056D5D0555}">
      <dsp:nvSpPr>
        <dsp:cNvPr id="0" name=""/>
        <dsp:cNvSpPr/>
      </dsp:nvSpPr>
      <dsp:spPr>
        <a:xfrm rot="5400000">
          <a:off x="3475186" y="4078041"/>
          <a:ext cx="643950" cy="547475"/>
        </a:xfrm>
        <a:prstGeom prst="flowChartExtra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AC03B876-6E10-400D-8AA6-9A5BA4E850F5}">
      <dsp:nvSpPr>
        <dsp:cNvPr id="0" name=""/>
        <dsp:cNvSpPr/>
      </dsp:nvSpPr>
      <dsp:spPr>
        <a:xfrm>
          <a:off x="4508879" y="595403"/>
          <a:ext cx="2719128" cy="4379804"/>
        </a:xfrm>
        <a:prstGeom prst="rect">
          <a:avLst/>
        </a:prstGeom>
        <a:noFill/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/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54864" rIns="0" bIns="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1. Evaluate </a:t>
          </a:r>
          <a:r>
            <a:rPr lang="en-US" sz="16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DiPLS</a:t>
          </a:r>
          <a:r>
            <a:rPr lang="en-US" sz="16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algorithms in three case studies.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2. For static process, </a:t>
          </a:r>
          <a:r>
            <a:rPr lang="en-US" sz="16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DiPLS</a:t>
          </a:r>
          <a:r>
            <a:rPr lang="en-US" sz="16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can be completely recover PLS.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3. For dynamical process, </a:t>
          </a:r>
          <a:r>
            <a:rPr lang="en-US" sz="16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DiPLS</a:t>
          </a:r>
          <a:r>
            <a:rPr lang="en-US" sz="16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has outperform PLS.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4. Parameter tunning methods; directly validation and 5fold CV.  </a:t>
          </a:r>
        </a:p>
      </dsp:txBody>
      <dsp:txXfrm>
        <a:off x="4508879" y="595403"/>
        <a:ext cx="2719128" cy="4379804"/>
      </dsp:txXfrm>
    </dsp:sp>
    <dsp:sp modelId="{1CCBA4E2-D512-4CF6-8426-C78999779D13}">
      <dsp:nvSpPr>
        <dsp:cNvPr id="0" name=""/>
        <dsp:cNvSpPr/>
      </dsp:nvSpPr>
      <dsp:spPr>
        <a:xfrm>
          <a:off x="7557807" y="595403"/>
          <a:ext cx="3784917" cy="4379804"/>
        </a:xfrm>
        <a:prstGeom prst="roundRect">
          <a:avLst>
            <a:gd name="adj" fmla="val 5000"/>
          </a:avLst>
        </a:prstGeom>
        <a:gradFill rotWithShape="0">
          <a:gsLst>
            <a:gs pos="0">
              <a:schemeClr val="accent3">
                <a:hueOff val="-3833154"/>
                <a:satOff val="-32537"/>
                <a:lumOff val="36077"/>
                <a:alphaOff val="0"/>
                <a:tint val="50000"/>
                <a:satMod val="300000"/>
              </a:schemeClr>
            </a:gs>
            <a:gs pos="35000">
              <a:schemeClr val="accent3">
                <a:hueOff val="-3833154"/>
                <a:satOff val="-32537"/>
                <a:lumOff val="36077"/>
                <a:alphaOff val="0"/>
                <a:tint val="37000"/>
                <a:satMod val="300000"/>
              </a:schemeClr>
            </a:gs>
            <a:gs pos="100000">
              <a:schemeClr val="accent3">
                <a:hueOff val="-3833154"/>
                <a:satOff val="-32537"/>
                <a:lumOff val="36077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48006" rIns="62230" bIns="0" numCol="1" spcCol="1270" anchor="t" anchorCtr="0">
          <a:noAutofit/>
        </a:bodyPr>
        <a:lstStyle/>
        <a:p>
          <a:pPr marL="0" lvl="0" indent="0" algn="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Future work</a:t>
          </a:r>
        </a:p>
      </dsp:txBody>
      <dsp:txXfrm rot="16200000">
        <a:off x="6140579" y="2012631"/>
        <a:ext cx="3591439" cy="756983"/>
      </dsp:txXfrm>
    </dsp:sp>
    <dsp:sp modelId="{906E2D48-9418-42E0-A49E-0A6203BDE6B8}">
      <dsp:nvSpPr>
        <dsp:cNvPr id="0" name=""/>
        <dsp:cNvSpPr/>
      </dsp:nvSpPr>
      <dsp:spPr>
        <a:xfrm rot="5400000">
          <a:off x="7252767" y="4078041"/>
          <a:ext cx="643950" cy="547475"/>
        </a:xfrm>
        <a:prstGeom prst="flowChartExtra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3">
              <a:hueOff val="-3833154"/>
              <a:satOff val="-32537"/>
              <a:lumOff val="36077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FF555A70-B477-4603-B829-D8125E1EFB2F}">
      <dsp:nvSpPr>
        <dsp:cNvPr id="0" name=""/>
        <dsp:cNvSpPr/>
      </dsp:nvSpPr>
      <dsp:spPr>
        <a:xfrm>
          <a:off x="8304997" y="595403"/>
          <a:ext cx="2819763" cy="4379804"/>
        </a:xfrm>
        <a:prstGeom prst="rect">
          <a:avLst/>
        </a:prstGeom>
        <a:noFill/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/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54864" rIns="0" bIns="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1.BEM and BLM approach.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600" kern="1200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2. Within PLS scheme: algorithms contains NNPLS structure and  transformations.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600" kern="1200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3. apply to some real data and see if it’s consistent with our synthetic data results.</a:t>
          </a:r>
        </a:p>
      </dsp:txBody>
      <dsp:txXfrm>
        <a:off x="8304997" y="595403"/>
        <a:ext cx="2819763" cy="437980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7">
  <dgm:title val=""/>
  <dgm:desc val=""/>
  <dgm:catLst>
    <dgm:cat type="process" pri="21000"/>
    <dgm:cat type="list" pri="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23" srcId="2" destId="21" srcOrd="0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Node" refType="h"/>
      <dgm:constr type="w" for="ch" forName="compositeNode" refType="w"/>
      <dgm:constr type="w" for="ch" forName="hSp" refType="w" refFor="ch" refForName="compositeNode" fact="-0.035"/>
      <dgm:constr type="w" for="des" forName="simulatedConn" refType="w" refFor="ch" refForName="compositeNode" fact="0.15"/>
      <dgm:constr type="h" for="des" forName="simulatedConn" refType="w" refFor="des" refForName="simulatedConn"/>
      <dgm:constr type="h" for="des" forName="vSp1" refType="w" refFor="ch" refForName="compositeNode" fact="0.8"/>
      <dgm:constr type="h" for="des" forName="vSp2" refType="w" refFor="ch" refForName="compositeNode" fact="0.07"/>
      <dgm:constr type="w" for="ch" forName="vProcSp" refType="w" refFor="des" refForName="simulatedConn" op="equ"/>
      <dgm:constr type="h" for="ch" forName="vProcSp" refType="h" refFor="ch" refForName="compositeNode" op="equ"/>
      <dgm:constr type="w" for="ch" forName="sibTrans" refType="w" refFor="ch" refForName="compositeNode" fact="-0.08"/>
      <dgm:constr type="primFontSz" for="des" forName="parentNode" op="equ"/>
      <dgm:constr type="primFontSz" for="des" forName="childNode" op="equ"/>
    </dgm:constrLst>
    <dgm:ruleLst/>
    <dgm:forEach name="Name4" axis="ch" ptType="node">
      <dgm:layoutNode name="compositeNode">
        <dgm:varLst>
          <dgm:bulletEnabled val="1"/>
        </dgm:varLst>
        <dgm:alg type="composite"/>
        <dgm:choose name="Name5">
          <dgm:if name="Name6" func="var" arg="dir" op="equ" val="norm">
            <dgm:constrLst>
              <dgm:constr type="h" refType="w" op="lte" fact="1.2"/>
              <dgm:constr type="w" for="ch" forName="bgRect" refType="w"/>
              <dgm:constr type="h" for="ch" forName="bgRect" refType="h"/>
              <dgm:constr type="t" for="ch" forName="bgRect"/>
              <dgm:constr type="l" for="ch" forName="bgRect"/>
              <dgm:constr type="w" for="ch" forName="parentNode" refType="w" refFor="ch" refForName="bgRect" fact="0.2"/>
              <dgm:constr type="h" for="ch" forName="parentNode" refType="h" fact="0.82"/>
              <dgm:constr type="t" for="ch" forName="parentNode"/>
              <dgm:constr type="l" for="ch" forName="parentNode"/>
              <dgm:constr type="r" for="ch" forName="childNode" refType="r" refFor="ch" refForName="bgRect" fact="0.945"/>
              <dgm:constr type="h" for="ch" forName="childNode" refType="h" refFor="ch" refForName="bgRect" op="equ"/>
              <dgm:constr type="t" for="ch" forName="childNode"/>
              <dgm:constr type="l" for="ch" forName="childNode" refType="r" refFor="ch" refForName="parentNode"/>
            </dgm:constrLst>
          </dgm:if>
          <dgm:else name="Name7">
            <dgm:constrLst>
              <dgm:constr type="h" refType="w" op="lte" fact="1.2"/>
              <dgm:constr type="w" for="ch" forName="bgRect" refType="w"/>
              <dgm:constr type="h" for="ch" forName="bgRect" refType="h"/>
              <dgm:constr type="t" for="ch" forName="bgRect"/>
              <dgm:constr type="r" for="ch" forName="bgRect" refType="w"/>
              <dgm:constr type="w" for="ch" forName="parentNode" refType="w" refFor="ch" refForName="bgRect" fact="0.2"/>
              <dgm:constr type="h" for="ch" forName="parentNode" refType="h" fact="0.82"/>
              <dgm:constr type="t" for="ch" forName="parentNode"/>
              <dgm:constr type="r" for="ch" forName="parentNode" refType="w"/>
              <dgm:constr type="h" for="ch" forName="childNode" refType="h" refFor="ch" refForName="bgRect"/>
              <dgm:constr type="t" for="ch" forName="childNode"/>
              <dgm:constr type="r" for="ch" forName="childNode" refType="l" refFor="ch" refForName="parentNode"/>
              <dgm:constr type="l" for="ch" forName="childNode" refType="w" refFor="ch" refForName="bgRect" fact="0.055"/>
            </dgm:constrLst>
          </dgm:else>
        </dgm:choose>
        <dgm:ruleLst>
          <dgm:rule type="w" for="ch" forName="childNode" val="NaN" fact="NaN" max="30"/>
        </dgm:ruleLst>
        <dgm:layoutNode name="bgRect" styleLbl="node1">
          <dgm:alg type="sp"/>
          <dgm:shape xmlns:r="http://schemas.openxmlformats.org/officeDocument/2006/relationships" type="roundRect" r:blip="" zOrderOff="-1">
            <dgm:adjLst>
              <dgm:adj idx="1" val="0.05"/>
            </dgm:adjLst>
          </dgm:shape>
          <dgm:presOf axis="self"/>
          <dgm:constrLst/>
          <dgm:ruleLst/>
        </dgm:layoutNode>
        <dgm:layoutNode name="parentNode" styleLbl="node1">
          <dgm:varLst>
            <dgm:chMax val="0"/>
            <dgm:bulletEnabled val="1"/>
          </dgm:varLst>
          <dgm:presOf axis="self"/>
          <dgm:choose name="Name8">
            <dgm:if name="Name9" func="var" arg="dir" op="equ" val="norm">
              <dgm:alg type="tx">
                <dgm:param type="autoTxRot" val="grav"/>
                <dgm:param type="txAnchorVert" val="t"/>
                <dgm:param type="parTxLTRAlign" val="r"/>
                <dgm:param type="parTxRTLAlign" val="r"/>
              </dgm:alg>
              <dgm:shape xmlns:r="http://schemas.openxmlformats.org/officeDocument/2006/relationships" rot="270" type="rect" r:blip="" hideGeom="1">
                <dgm:adjLst/>
              </dgm:shape>
              <dgm:constrLst>
                <dgm:constr type="primFontSz" val="65"/>
                <dgm:constr type="lMarg"/>
                <dgm:constr type="rMarg" refType="primFontSz" fact="0.35"/>
                <dgm:constr type="tMarg" refType="primFontSz" fact="0.27"/>
                <dgm:constr type="bMarg"/>
              </dgm:constrLst>
            </dgm:if>
            <dgm:else name="Name10">
              <dgm:alg type="tx">
                <dgm:param type="autoTxRot" val="grav"/>
                <dgm:param type="txAnchorVert" val="t"/>
                <dgm:param type="parTxLTRAlign" val="l"/>
                <dgm:param type="parTxRTLAlign" val="l"/>
              </dgm:alg>
              <dgm:shape xmlns:r="http://schemas.openxmlformats.org/officeDocument/2006/relationships" rot="90" type="rect" r:blip="" hideGeom="1">
                <dgm:adjLst/>
              </dgm:shape>
              <dgm:constrLst>
                <dgm:constr type="primFontSz" val="65"/>
                <dgm:constr type="lMarg" refType="primFontSz" fact="0.35"/>
                <dgm:constr type="rMarg"/>
                <dgm:constr type="tMarg" refType="primFontSz" fact="0.27"/>
                <dgm:constr type="bMarg"/>
              </dgm:constrLst>
            </dgm:else>
          </dgm:choose>
          <dgm:ruleLst>
            <dgm:rule type="primFontSz" val="5" fact="NaN" max="NaN"/>
          </dgm:ruleLst>
        </dgm:layoutNode>
        <dgm:choose name="Name11">
          <dgm:if name="Name12" axis="ch" ptType="node" func="cnt" op="gte" val="1">
            <dgm:layoutNode name="childNode" styleLbl="node1" moveWith="bgRect">
              <dgm:varLst>
                <dgm:bulletEnabled val="1"/>
              </dgm:varLst>
              <dgm:alg type="tx">
                <dgm:param type="parTxLTRAlign" val="l"/>
                <dgm:param type="parTxRTLAlign" val="r"/>
                <dgm:param type="txAnchorVert" val="t"/>
              </dgm:alg>
              <dgm:shape xmlns:r="http://schemas.openxmlformats.org/officeDocument/2006/relationships" type="rect" r:blip="" hideGeom="1">
                <dgm:adjLst/>
              </dgm:shape>
              <dgm:presOf axis="des" ptType="node"/>
              <dgm:constrLst>
                <dgm:constr type="primFontSz" val="65"/>
                <dgm:constr type="lMarg"/>
                <dgm:constr type="bMarg"/>
                <dgm:constr type="tMarg" refType="primFontSz" fact="0.27"/>
                <dgm:constr type="rMarg"/>
              </dgm:constrLst>
              <dgm:ruleLst>
                <dgm:rule type="prim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h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vProcSp" moveWith="bgRec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vSp1" refType="w"/>
            <dgm:constr type="w" for="ch" forName="simulatedConn" refType="w"/>
            <dgm:constr type="w" for="ch" forName="vSp2" refType="w"/>
          </dgm:constrLst>
          <dgm:ruleLst/>
          <dgm:layoutNode name="vSp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simulatedConn" styleLbl="solidFgAcc1">
            <dgm:alg type="sp"/>
            <dgm:choose name="Name15">
              <dgm:if name="Name16" func="var" arg="dir" op="equ" val="norm">
                <dgm:shape xmlns:r="http://schemas.openxmlformats.org/officeDocument/2006/relationships" rot="90" type="flowChartExtract" r:blip="">
                  <dgm:adjLst/>
                </dgm:shape>
              </dgm:if>
              <dgm:else name="Name17">
                <dgm:shape xmlns:r="http://schemas.openxmlformats.org/officeDocument/2006/relationships" rot="-90" type="flowChartExtract" r:blip="">
                  <dgm:adjLst/>
                </dgm:shape>
              </dgm:else>
            </dgm:choose>
            <dgm:presOf/>
            <dgm:constrLst/>
            <dgm:ruleLst/>
          </dgm:layoutNode>
          <dgm:layoutNode name="vSp2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193513" y="169325"/>
            <a:ext cx="6354563" cy="171100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700"/>
            </a:lvl1pPr>
            <a:lvl2pPr marL="4563" indent="0">
              <a:defRPr sz="700"/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/>
          </a:p>
        </p:txBody>
      </p:sp>
      <p:sp>
        <p:nvSpPr>
          <p:cNvPr id="12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6602284" y="9266807"/>
            <a:ext cx="522777" cy="1711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noFill/>
              </a:defRPr>
            </a:lvl1pPr>
            <a:lvl2pPr marL="0" indent="0">
              <a:defRPr sz="700">
                <a:noFill/>
              </a:defRPr>
            </a:lvl2pPr>
            <a:lvl3pPr marL="0" indent="0" algn="l">
              <a:defRPr sz="700">
                <a:noFill/>
              </a:defRPr>
            </a:lvl3pPr>
            <a:lvl4pPr marL="0" indent="0">
              <a:defRPr sz="700">
                <a:noFill/>
              </a:defRPr>
            </a:lvl4pPr>
            <a:lvl5pPr marL="0" indent="0">
              <a:defRPr sz="700">
                <a:noFill/>
              </a:defRPr>
            </a:lvl5pPr>
            <a:lvl6pPr marL="0" indent="0">
              <a:defRPr sz="700">
                <a:noFill/>
              </a:defRPr>
            </a:lvl6pPr>
            <a:lvl7pPr marL="0" indent="0">
              <a:defRPr sz="700">
                <a:noFill/>
              </a:defRPr>
            </a:lvl7pPr>
            <a:lvl8pPr marL="0" indent="0">
              <a:defRPr sz="700">
                <a:noFill/>
              </a:defRPr>
            </a:lvl8pPr>
            <a:lvl9pPr marL="0" indent="0">
              <a:defRPr sz="700">
                <a:noFill/>
              </a:defRPr>
            </a:lvl9pPr>
          </a:lstStyle>
          <a:p>
            <a:fld id="{D4C110CA-FC68-43DA-BD62-0A387A11A067}" type="datetimeFigureOut">
              <a:rPr lang="en-US" smtClean="0"/>
              <a:pPr/>
              <a:t>9/2/2022</a:t>
            </a:fld>
            <a:endParaRPr lang="en-US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2"/>
          </p:nvPr>
        </p:nvSpPr>
        <p:spPr bwMode="gray">
          <a:xfrm>
            <a:off x="525610" y="9266807"/>
            <a:ext cx="5913113" cy="1711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/>
            </a:lvl1pPr>
            <a:lvl2pPr marL="4563" indent="0">
              <a:defRPr sz="700">
                <a:solidFill>
                  <a:schemeClr val="tx1"/>
                </a:solidFill>
              </a:defRPr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3"/>
          </p:nvPr>
        </p:nvSpPr>
        <p:spPr bwMode="gray">
          <a:xfrm>
            <a:off x="186596" y="9266807"/>
            <a:ext cx="202340" cy="1711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/>
            </a:lvl1pPr>
            <a:lvl2pPr marL="0" indent="0">
              <a:defRPr sz="700"/>
            </a:lvl2pPr>
            <a:lvl3pPr marL="0" indent="0">
              <a:defRPr sz="700"/>
            </a:lvl3pPr>
            <a:lvl4pPr marL="0" indent="0">
              <a:defRPr sz="700"/>
            </a:lvl4pPr>
            <a:lvl5pPr marL="0" indent="0">
              <a:defRPr sz="700"/>
            </a:lvl5pPr>
            <a:lvl6pPr marL="0" indent="0">
              <a:defRPr sz="700"/>
            </a:lvl6pPr>
            <a:lvl7pPr marL="0" indent="0">
              <a:defRPr sz="700"/>
            </a:lvl7pPr>
            <a:lvl8pPr marL="0" indent="0">
              <a:defRPr sz="700"/>
            </a:lvl8pPr>
            <a:lvl9pPr marL="0" indent="0">
              <a:defRPr sz="700"/>
            </a:lvl9pPr>
          </a:lstStyle>
          <a:p>
            <a:fld id="{32F3CE37-8989-471A-BC57-D3CAAD03839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734932" y="184404"/>
            <a:ext cx="386845" cy="349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05931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emf"/><Relationship Id="rId1" Type="http://schemas.openxmlformats.org/officeDocument/2006/relationships/theme" Target="../theme/theme3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334963" y="592138"/>
            <a:ext cx="3154362" cy="1774825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txBody>
          <a:bodyPr vert="horz" lIns="87598" tIns="43799" rIns="87598" bIns="4379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204741" y="2815587"/>
            <a:ext cx="6909889" cy="619463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212328" y="175604"/>
            <a:ext cx="6266208" cy="177447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700"/>
            </a:lvl1pPr>
            <a:lvl2pPr marL="4563" indent="0">
              <a:defRPr sz="700"/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/>
          </a:p>
        </p:txBody>
      </p:sp>
      <p:sp>
        <p:nvSpPr>
          <p:cNvPr id="14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6539248" y="9254558"/>
            <a:ext cx="573743" cy="17744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noFill/>
              </a:defRPr>
            </a:lvl1pPr>
            <a:lvl2pPr marL="0" indent="0">
              <a:defRPr sz="700">
                <a:noFill/>
              </a:defRPr>
            </a:lvl2pPr>
            <a:lvl3pPr marL="0" indent="0" algn="l">
              <a:defRPr sz="700">
                <a:noFill/>
              </a:defRPr>
            </a:lvl3pPr>
            <a:lvl4pPr marL="0" indent="0">
              <a:defRPr sz="700">
                <a:noFill/>
              </a:defRPr>
            </a:lvl4pPr>
            <a:lvl5pPr marL="0" indent="0">
              <a:defRPr sz="700">
                <a:noFill/>
              </a:defRPr>
            </a:lvl5pPr>
            <a:lvl6pPr marL="0" indent="0">
              <a:defRPr sz="700">
                <a:noFill/>
              </a:defRPr>
            </a:lvl6pPr>
            <a:lvl7pPr marL="0" indent="0">
              <a:defRPr sz="700">
                <a:noFill/>
              </a:defRPr>
            </a:lvl7pPr>
            <a:lvl8pPr marL="0" indent="0">
              <a:defRPr sz="700">
                <a:noFill/>
              </a:defRPr>
            </a:lvl8pPr>
            <a:lvl9pPr marL="0" indent="0">
              <a:defRPr sz="700">
                <a:noFill/>
              </a:defRPr>
            </a:lvl9pPr>
          </a:lstStyle>
          <a:p>
            <a:fld id="{D4C110CA-FC68-43DA-BD62-0A387A11A067}" type="datetimeFigureOut">
              <a:rPr lang="en-US" smtClean="0"/>
              <a:pPr/>
              <a:t>9/2/2022</a:t>
            </a:fld>
            <a:endParaRPr lang="en-US"/>
          </a:p>
        </p:txBody>
      </p:sp>
      <p:sp>
        <p:nvSpPr>
          <p:cNvPr id="15" name="Footer Placeholder 3"/>
          <p:cNvSpPr>
            <a:spLocks noGrp="1"/>
          </p:cNvSpPr>
          <p:nvPr>
            <p:ph type="ftr" sz="quarter" idx="4"/>
          </p:nvPr>
        </p:nvSpPr>
        <p:spPr bwMode="gray">
          <a:xfrm>
            <a:off x="581743" y="9254558"/>
            <a:ext cx="5804509" cy="17744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/>
            </a:lvl1pPr>
            <a:lvl2pPr marL="4563" indent="0">
              <a:defRPr sz="700">
                <a:solidFill>
                  <a:schemeClr val="tx1"/>
                </a:solidFill>
              </a:defRPr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/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5"/>
          </p:nvPr>
        </p:nvSpPr>
        <p:spPr bwMode="gray">
          <a:xfrm>
            <a:off x="204789" y="9254558"/>
            <a:ext cx="221847" cy="17744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/>
            </a:lvl1pPr>
            <a:lvl2pPr marL="0" indent="0">
              <a:defRPr sz="700"/>
            </a:lvl2pPr>
            <a:lvl3pPr marL="0" indent="0">
              <a:defRPr sz="700"/>
            </a:lvl3pPr>
            <a:lvl4pPr marL="0" indent="0">
              <a:defRPr sz="700"/>
            </a:lvl4pPr>
            <a:lvl5pPr marL="0" indent="0">
              <a:defRPr sz="700"/>
            </a:lvl5pPr>
            <a:lvl6pPr marL="0" indent="0">
              <a:defRPr sz="700"/>
            </a:lvl6pPr>
            <a:lvl7pPr marL="0" indent="0">
              <a:defRPr sz="700"/>
            </a:lvl7pPr>
            <a:lvl8pPr marL="0" indent="0">
              <a:defRPr sz="700"/>
            </a:lvl8pPr>
            <a:lvl9pPr marL="0" indent="0">
              <a:defRPr sz="700"/>
            </a:lvl9pPr>
          </a:lstStyle>
          <a:p>
            <a:fld id="{32F3CE37-8989-471A-BC57-D3CAAD03839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688525" y="197053"/>
            <a:ext cx="424374" cy="382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97749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1800"/>
      </a:spcBef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Bef>
        <a:spcPts val="300"/>
      </a:spcBef>
      <a:buFontTx/>
      <a:buBlip>
        <a:blip r:embed="rId3"/>
      </a:buBlip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Bef>
        <a:spcPts val="300"/>
      </a:spcBef>
      <a:buFontTx/>
      <a:buBlip>
        <a:blip r:embed="rId4"/>
      </a:buBlip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Bef>
        <a:spcPts val="300"/>
      </a:spcBef>
      <a:buFontTx/>
      <a:buBlip>
        <a:blip r:embed="rId5"/>
      </a:buBlip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3</a:t>
            </a:r>
            <a:r>
              <a:rPr lang="en-US" baseline="30000" dirty="0"/>
              <a:t>rd</a:t>
            </a:r>
            <a:r>
              <a:rPr lang="en-US" dirty="0"/>
              <a:t> year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F3CE37-8989-471A-BC57-D3CAAD03839D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76140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CE37-8989-471A-BC57-D3CAAD03839D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630921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single output, </a:t>
            </a:r>
            <a:r>
              <a:rPr lang="en-US" dirty="0" err="1"/>
              <a:t>y_k</a:t>
            </a:r>
            <a:r>
              <a:rPr lang="en-US" dirty="0"/>
              <a:t> is a scalar, q is also a scalar</a:t>
            </a:r>
          </a:p>
          <a:p>
            <a:r>
              <a:rPr lang="en-US" dirty="0" err="1"/>
              <a:t>t_k</a:t>
            </a:r>
            <a:r>
              <a:rPr lang="en-US" dirty="0"/>
              <a:t> is also a scalar, </a:t>
            </a:r>
            <a:r>
              <a:rPr lang="en-US" dirty="0" err="1"/>
              <a:t>x_k</a:t>
            </a:r>
            <a:r>
              <a:rPr lang="en-US" dirty="0"/>
              <a:t> is 1 by features and w is features by 1, k is the time, not the latent variable. This is an element of the vector 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CE37-8989-471A-BC57-D3CAAD03839D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1841068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single output, </a:t>
            </a:r>
            <a:r>
              <a:rPr lang="en-US" dirty="0" err="1"/>
              <a:t>y_k</a:t>
            </a:r>
            <a:r>
              <a:rPr lang="en-US" dirty="0"/>
              <a:t> is a scalar, q is also a scalar</a:t>
            </a:r>
          </a:p>
          <a:p>
            <a:r>
              <a:rPr lang="en-US" dirty="0" err="1"/>
              <a:t>t_k</a:t>
            </a:r>
            <a:r>
              <a:rPr lang="en-US" dirty="0"/>
              <a:t> is also a scalar, </a:t>
            </a:r>
            <a:r>
              <a:rPr lang="en-US" dirty="0" err="1"/>
              <a:t>x_k</a:t>
            </a:r>
            <a:r>
              <a:rPr lang="en-US" dirty="0"/>
              <a:t> is 1 by features and w is features by 1, k is the time, not the latent variable. This is an element of the vector 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CE37-8989-471A-BC57-D3CAAD03839D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212252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F3CE37-8989-471A-BC57-D3CAAD03839D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89120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plain the thoughts process, why we need the synthetic data: to enhance the understanding of the algorithm, we need to verify with some data.</a:t>
            </a:r>
          </a:p>
          <a:p>
            <a:r>
              <a:rPr lang="en-US" dirty="0"/>
              <a:t>(what you want to achieve reminding, why you do that, and how you can do that) synthetic data gives better control….. Now we are ready to show you some result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F3CE37-8989-471A-BC57-D3CAAD03839D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13348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X and Y labels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F3CE37-8989-471A-BC57-D3CAAD03839D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954801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dd a bullet on why it’s still lag = 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F3CE37-8989-471A-BC57-D3CAAD03839D}" type="slidenum">
              <a:rPr lang="en-US" smtClean="0"/>
              <a:pPr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112943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Shorten</a:t>
            </a:r>
            <a:r>
              <a:rPr lang="en-US" baseline="0"/>
              <a:t> texts; highlight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F3CE37-8989-471A-BC57-D3CAAD03839D}" type="slidenum">
              <a:rPr lang="en-US" smtClean="0"/>
              <a:pPr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16377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BD2C90-BBA0-46EC-8B01-B5FB30F66FDA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3" name="Folienbildplatzhalter 2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izen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94621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F3CE37-8989-471A-BC57-D3CAAD03839D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33437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F3CE37-8989-471A-BC57-D3CAAD03839D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18653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ake out the BEM part, and wait until the future work part to introdu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CE37-8989-471A-BC57-D3CAAD03839D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630921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F3CE37-8989-471A-BC57-D3CAAD03839D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0100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nsistent using ”relationship” and “model”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F3CE37-8989-471A-BC57-D3CAAD03839D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92928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terpretation? In a simple way, loading, score plots as in compa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F3CE37-8989-471A-BC57-D3CAAD03839D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11727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F3CE37-8989-471A-BC57-D3CAAD03839D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90756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5A2FEF8-95DF-4328-850D-3F7840A62554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453184E-21E7-418F-A1EC-A49E8D1E2D3B}" type="datetime1">
              <a:rPr lang="en-US" smtClean="0"/>
              <a:t>9/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3F626E8-4D4D-4477-BEF3-9372D1A5AD5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2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2" name="Logoschutz" hidden="1">
            <a:extLst>
              <a:ext uri="{FF2B5EF4-FFF2-40B4-BE49-F238E27FC236}">
                <a16:creationId xmlns:a16="http://schemas.microsoft.com/office/drawing/2014/main" id="{C9A9C5E1-5EC5-4E10-A801-6F56DB71E6CD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3360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 &amp;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13F43FA-A88D-45CF-A998-B7633C7E9A49}" type="datetime1">
              <a:rPr lang="en-US" smtClean="0"/>
              <a:t>9/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981820" y="3892749"/>
            <a:ext cx="5220000" cy="25920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559719" y="3892749"/>
            <a:ext cx="5220000" cy="2592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 14 (left)"/>
          <p:cNvSpPr>
            <a:spLocks noGrp="1"/>
          </p:cNvSpPr>
          <p:nvPr>
            <p:ph type="pic" sz="quarter" idx="16"/>
          </p:nvPr>
        </p:nvSpPr>
        <p:spPr bwMode="gray">
          <a:xfrm>
            <a:off x="981820" y="1732750"/>
            <a:ext cx="522000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14 (right)"/>
          <p:cNvSpPr>
            <a:spLocks noGrp="1"/>
          </p:cNvSpPr>
          <p:nvPr>
            <p:ph type="pic" sz="quarter" idx="17"/>
          </p:nvPr>
        </p:nvSpPr>
        <p:spPr bwMode="gray">
          <a:xfrm>
            <a:off x="6559719" y="1732750"/>
            <a:ext cx="522000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839903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2228">
          <p15:clr>
            <a:srgbClr val="FBAE40"/>
          </p15:clr>
        </p15:guide>
        <p15:guide id="4" orient="horz" pos="2455">
          <p15:clr>
            <a:srgbClr val="FBAE40"/>
          </p15:clr>
        </p15:guide>
        <p15:guide id="5" pos="619">
          <p15:clr>
            <a:srgbClr val="FBAE40"/>
          </p15:clr>
        </p15:guide>
        <p15:guide id="6" pos="7423">
          <p15:clr>
            <a:srgbClr val="FBAE40"/>
          </p15:clr>
        </p15:guide>
        <p15:guide id="7" orient="horz" pos="1094">
          <p15:clr>
            <a:srgbClr val="FBAE40"/>
          </p15:clr>
        </p15:guide>
        <p15:guide id="8" orient="horz" pos="4085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6DB8775-8226-4E8C-BBBC-5A871E3E17A7}" type="datetime1">
              <a:rPr lang="en-US" smtClean="0"/>
              <a:t>9/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289235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4086">
          <p15:clr>
            <a:srgbClr val="FBAE40"/>
          </p15:clr>
        </p15:guide>
        <p15:guide id="4" orient="horz" pos="1094">
          <p15:clr>
            <a:srgbClr val="FBAE40"/>
          </p15:clr>
        </p15:guide>
        <p15:guide id="5" pos="2150">
          <p15:clr>
            <a:srgbClr val="FBAE40"/>
          </p15:clr>
        </p15:guide>
        <p15:guide id="6" pos="2376">
          <p15:clr>
            <a:srgbClr val="FBAE40"/>
          </p15:clr>
        </p15:guide>
        <p15:guide id="7" pos="3908">
          <p15:clr>
            <a:srgbClr val="FBAE40"/>
          </p15:clr>
        </p15:guide>
        <p15:guide id="8" pos="4021">
          <p15:clr>
            <a:srgbClr val="FBAE40"/>
          </p15:clr>
        </p15:guide>
        <p15:guide id="9" pos="4134">
          <p15:clr>
            <a:srgbClr val="FBAE40"/>
          </p15:clr>
        </p15:guide>
        <p15:guide id="10" pos="5667">
          <p15:clr>
            <a:srgbClr val="FBAE40"/>
          </p15:clr>
        </p15:guide>
        <p15:guide id="11" pos="5894">
          <p15:clr>
            <a:srgbClr val="FBAE40"/>
          </p15:clr>
        </p15:guide>
        <p15:guide id="12" orient="horz" pos="2478">
          <p15:clr>
            <a:srgbClr val="FBAE40"/>
          </p15:clr>
        </p15:guide>
        <p15:guide id="13" orient="horz" pos="2704">
          <p15:clr>
            <a:srgbClr val="FBAE40"/>
          </p15:clr>
        </p15:guide>
        <p15:guide id="14" orient="horz" pos="259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980282" y="1052513"/>
            <a:ext cx="10800000" cy="5432237"/>
          </a:xfrm>
        </p:spPr>
        <p:txBody>
          <a:bodyPr bIns="0" anchor="ctr"/>
          <a:lstStyle>
            <a:lvl1pPr marL="0" indent="0" algn="l">
              <a:buNone/>
              <a:defRPr sz="6600">
                <a:solidFill>
                  <a:schemeClr val="tx2"/>
                </a:solidFill>
              </a:defRPr>
            </a:lvl1pPr>
            <a:lvl2pPr marL="0" indent="0" algn="l">
              <a:buNone/>
              <a:defRPr sz="6600">
                <a:solidFill>
                  <a:schemeClr val="tx2"/>
                </a:solidFill>
              </a:defRPr>
            </a:lvl2pPr>
            <a:lvl3pPr marL="0" indent="0" algn="l">
              <a:buNone/>
              <a:defRPr sz="6600">
                <a:solidFill>
                  <a:schemeClr val="tx2"/>
                </a:solidFill>
              </a:defRPr>
            </a:lvl3pPr>
            <a:lvl4pPr marL="0" indent="0" algn="l">
              <a:buNone/>
              <a:defRPr sz="6600">
                <a:solidFill>
                  <a:schemeClr val="tx2"/>
                </a:solidFill>
              </a:defRPr>
            </a:lvl4pPr>
            <a:lvl5pPr marL="0" indent="0" algn="l">
              <a:buNone/>
              <a:defRPr sz="6600">
                <a:solidFill>
                  <a:schemeClr val="tx2"/>
                </a:solidFill>
              </a:defRPr>
            </a:lvl5pPr>
            <a:lvl6pPr marL="0" indent="0" algn="l">
              <a:buNone/>
              <a:defRPr sz="6600">
                <a:solidFill>
                  <a:schemeClr val="tx2"/>
                </a:solidFill>
              </a:defRPr>
            </a:lvl6pPr>
            <a:lvl7pPr marL="0" indent="0" algn="l">
              <a:buNone/>
              <a:defRPr sz="6600">
                <a:solidFill>
                  <a:schemeClr val="tx2"/>
                </a:solidFill>
              </a:defRPr>
            </a:lvl7pPr>
            <a:lvl8pPr marL="0" indent="0" algn="l">
              <a:buNone/>
              <a:defRPr sz="6600">
                <a:solidFill>
                  <a:schemeClr val="tx2"/>
                </a:solidFill>
              </a:defRPr>
            </a:lvl8pPr>
            <a:lvl9pPr marL="0" indent="0" algn="l">
              <a:buNone/>
              <a:defRPr sz="66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096B027-38B9-43F7-A592-83EA0A775820}" type="datetime1">
              <a:rPr lang="en-US" smtClean="0"/>
              <a:t>9/2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September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19706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663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4F30451-A35E-4E06-ABE9-57892F294C45}" type="datetime1">
              <a:rPr lang="en-US" smtClean="0"/>
              <a:t>9/2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0" y="0"/>
            <a:ext cx="12190413" cy="6858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559345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19" y="1732422"/>
            <a:ext cx="5381498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3BDA798-F8E0-4709-A972-C462B33FAF2F}" type="datetime1">
              <a:rPr lang="en-US" smtClean="0"/>
              <a:t>9/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19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043114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2B6636"/>
              </a:gs>
              <a:gs pos="0">
                <a:srgbClr val="2B6636"/>
              </a:gs>
              <a:gs pos="72000">
                <a:srgbClr val="00442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21" y="1732757"/>
            <a:ext cx="5381496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8FB917D-8BDA-4646-85F0-B3EB7EC9AA4C}" type="datetime1">
              <a:rPr lang="en-US" smtClean="0"/>
              <a:t>9/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20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562772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624963"/>
              </a:gs>
              <a:gs pos="0">
                <a:srgbClr val="624963"/>
              </a:gs>
              <a:gs pos="72000">
                <a:srgbClr val="443247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20" y="1732757"/>
            <a:ext cx="5381496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3C03279-9369-4B60-857C-CA23090BD5EE}" type="datetime1">
              <a:rPr lang="en-US" smtClean="0"/>
              <a:t>9/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20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871054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ED9FCB3-9B29-42A8-A735-DBF9B3C4108B}" type="datetime1">
              <a:rPr lang="en-US" smtClean="0"/>
              <a:t>9/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7841" y="0"/>
            <a:ext cx="8114953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3"/>
              <a:gd name="connsiteY0" fmla="*/ 0 h 6858000"/>
              <a:gd name="connsiteX1" fmla="*/ 8112573 w 8114953"/>
              <a:gd name="connsiteY1" fmla="*/ 0 h 6858000"/>
              <a:gd name="connsiteX2" fmla="*/ 8114953 w 8114953"/>
              <a:gd name="connsiteY2" fmla="*/ 6003673 h 6858000"/>
              <a:gd name="connsiteX3" fmla="*/ 3275459 w 8114953"/>
              <a:gd name="connsiteY3" fmla="*/ 6858000 h 6858000"/>
              <a:gd name="connsiteX4" fmla="*/ 0 w 8114953"/>
              <a:gd name="connsiteY4" fmla="*/ 6858000 h 6858000"/>
              <a:gd name="connsiteX5" fmla="*/ 1341581 w 811495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3" y="4090555"/>
                  <a:pt x="8114953" y="6003673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610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CFB0821-1501-4F0D-802C-D5C0FC2E10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CFD87D-F954-45E6-9FDC-57135F505C0A}" type="datetimeFigureOut">
              <a:rPr lang="en-US" smtClean="0"/>
              <a:t>9/2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7AB784-0D3C-4B86-BEA3-AA57FEC534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BDEFDB-B0A5-4734-B8F5-C62A6E4878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31B104-778B-4A0C-AB40-5EC0994009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713004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5A2FEF8-95DF-4328-850D-3F7840A62554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453184E-21E7-418F-A1EC-A49E8D1E2D3B}" type="datetime1">
              <a:rPr lang="en-US" smtClean="0"/>
              <a:t>9/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3F626E8-4D4D-4477-BEF3-9372D1A5AD5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2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2" name="Logoschutz" hidden="1">
            <a:extLst>
              <a:ext uri="{FF2B5EF4-FFF2-40B4-BE49-F238E27FC236}">
                <a16:creationId xmlns:a16="http://schemas.microsoft.com/office/drawing/2014/main" id="{C9A9C5E1-5EC5-4E10-A801-6F56DB71E6CD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165629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CB09DE6-6C5C-466A-98EE-CF45D40F0870}" type="datetime1">
              <a:rPr lang="en-US" smtClean="0"/>
              <a:t>9/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C0614FA-2289-4D50-861D-D1CE2042502D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2CD53346-3B88-4ECD-BC3C-B158CECCD4F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2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2FE56050-78D4-446C-87C6-B9C42DDC4070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310360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CB09DE6-6C5C-466A-98EE-CF45D40F0870}" type="datetime1">
              <a:rPr lang="en-US" smtClean="0"/>
              <a:t>9/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C0614FA-2289-4D50-861D-D1CE2042502D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2CD53346-3B88-4ECD-BC3C-B158CECCD4F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2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2FE56050-78D4-446C-87C6-B9C42DDC4070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475657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8331062-53AF-412B-A235-6DCBA819F08B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99CCC57-2F27-4712-AC15-A35FC57882C5}" type="datetime1">
              <a:rPr lang="en-US" smtClean="0"/>
              <a:t>9/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F895202-4A4D-43A2-B3BF-4253EA64031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2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82EE1829-716E-40CB-A4A0-CAB36B358641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848059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1976765" y="403540"/>
            <a:ext cx="9624002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2005337" y="1843721"/>
            <a:ext cx="4680000" cy="4641030"/>
          </a:xfrm>
        </p:spPr>
        <p:txBody>
          <a:bodyPr/>
          <a:lstStyle>
            <a:lvl1pPr marL="270000" indent="-270000">
              <a:spcBef>
                <a:spcPts val="1800"/>
              </a:spcBef>
              <a:spcAft>
                <a:spcPts val="0"/>
              </a:spcAft>
              <a:buFontTx/>
              <a:buBlip>
                <a:blip r:embed="rId3"/>
              </a:buBlip>
              <a:defRPr sz="2000"/>
            </a:lvl1pPr>
            <a:lvl2pPr marL="54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4"/>
              </a:buBlip>
              <a:defRPr sz="2000"/>
            </a:lvl2pPr>
            <a:lvl3pPr marL="81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5"/>
              </a:buBlip>
              <a:defRPr sz="2000"/>
            </a:lvl3pPr>
            <a:lvl4pPr marL="108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6"/>
              </a:buBlip>
              <a:defRPr sz="2000"/>
            </a:lvl4pPr>
            <a:lvl5pPr>
              <a:spcBef>
                <a:spcPts val="600"/>
              </a:spcBef>
              <a:spcAft>
                <a:spcPts val="0"/>
              </a:spcAft>
              <a:defRPr sz="2000"/>
            </a:lvl5pPr>
            <a:lvl6pPr>
              <a:spcBef>
                <a:spcPts val="600"/>
              </a:spcBef>
              <a:spcAft>
                <a:spcPts val="0"/>
              </a:spcAft>
              <a:defRPr sz="2000"/>
            </a:lvl6pPr>
            <a:lvl7pPr>
              <a:spcBef>
                <a:spcPts val="600"/>
              </a:spcBef>
              <a:spcAft>
                <a:spcPts val="0"/>
              </a:spcAft>
              <a:defRPr sz="2000"/>
            </a:lvl7pPr>
            <a:lvl8pPr>
              <a:spcBef>
                <a:spcPts val="600"/>
              </a:spcBef>
              <a:spcAft>
                <a:spcPts val="0"/>
              </a:spcAft>
              <a:defRPr sz="2000"/>
            </a:lvl8pPr>
            <a:lvl9pPr>
              <a:spcBef>
                <a:spcPts val="600"/>
              </a:spcBef>
              <a:spcAft>
                <a:spcPts val="0"/>
              </a:spcAft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EB53ADF-5111-40B8-BD25-E86AF4ED5048}" type="datetime1">
              <a:rPr lang="en-US" smtClean="0"/>
              <a:t>9/2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974672" y="6617933"/>
            <a:ext cx="5710665" cy="108000"/>
          </a:xfrm>
        </p:spPr>
        <p:txBody>
          <a:bodyPr/>
          <a:lstStyle/>
          <a:p>
            <a:r>
              <a:rPr lang="en-US"/>
              <a:t>/// Bayer 16:9 Template /// September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95843" y="6617933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832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 bwMode="black">
          <a:xfrm>
            <a:off x="7804236" y="1"/>
            <a:ext cx="4386177" cy="6858000"/>
            <a:chOff x="7804236" y="1"/>
            <a:chExt cx="4386177" cy="6858000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6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025880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254">
          <p15:clr>
            <a:srgbClr val="FBAE40"/>
          </p15:clr>
        </p15:guide>
        <p15:guide id="2" orient="horz" pos="4086">
          <p15:clr>
            <a:srgbClr val="FBAE40"/>
          </p15:clr>
        </p15:guide>
        <p15:guide id="3" orient="horz" pos="1162">
          <p15:clr>
            <a:srgbClr val="FBAE40"/>
          </p15:clr>
        </p15:guide>
        <p15:guide id="4" pos="4214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invGray">
          <a:xfrm>
            <a:off x="0" y="0"/>
            <a:ext cx="2104575" cy="6861175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1175"/>
              <a:gd name="connsiteX1" fmla="*/ 2104575 w 2104575"/>
              <a:gd name="connsiteY1" fmla="*/ 0 h 6861175"/>
              <a:gd name="connsiteX2" fmla="*/ 650732 w 2104575"/>
              <a:gd name="connsiteY2" fmla="*/ 6861175 h 6861175"/>
              <a:gd name="connsiteX3" fmla="*/ 0 w 2104575"/>
              <a:gd name="connsiteY3" fmla="*/ 6858000 h 6861175"/>
              <a:gd name="connsiteX4" fmla="*/ 0 w 2104575"/>
              <a:gd name="connsiteY4" fmla="*/ 0 h 686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1175">
                <a:moveTo>
                  <a:pt x="0" y="0"/>
                </a:moveTo>
                <a:lnTo>
                  <a:pt x="2104575" y="0"/>
                </a:lnTo>
                <a:lnTo>
                  <a:pt x="650732" y="6861175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E61A5D"/>
              </a:gs>
              <a:gs pos="50000">
                <a:srgbClr val="E61A5D"/>
              </a:gs>
              <a:gs pos="84000">
                <a:srgbClr val="E61A5D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ACA9DDE-6CF4-4C99-A2B7-6AB362D7B47D}" type="datetime1">
              <a:rPr lang="en-US" smtClean="0"/>
              <a:t>9/2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September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6846097" y="3064854"/>
            <a:ext cx="4500000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1809949" y="1473902"/>
            <a:ext cx="4140000" cy="1440753"/>
          </a:xfrm>
        </p:spPr>
        <p:txBody>
          <a:bodyPr anchor="b"/>
          <a:lstStyle>
            <a:lvl1pPr algn="r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49" name="Group 48"/>
          <p:cNvGrpSpPr/>
          <p:nvPr/>
        </p:nvGrpSpPr>
        <p:grpSpPr bwMode="black">
          <a:xfrm>
            <a:off x="4710111" y="1"/>
            <a:ext cx="2593510" cy="6858000"/>
            <a:chOff x="4710111" y="1"/>
            <a:chExt cx="2593510" cy="6858000"/>
          </a:xfrm>
        </p:grpSpPr>
        <p:sp>
          <p:nvSpPr>
            <p:cNvPr id="50" name="Freeform 6"/>
            <p:cNvSpPr>
              <a:spLocks/>
            </p:cNvSpPr>
            <p:nvPr userDrawn="1"/>
          </p:nvSpPr>
          <p:spPr bwMode="black">
            <a:xfrm>
              <a:off x="4710111" y="1"/>
              <a:ext cx="2393982" cy="6858000"/>
            </a:xfrm>
            <a:custGeom>
              <a:avLst/>
              <a:gdLst>
                <a:gd name="T0" fmla="*/ 9 w 1781"/>
                <a:gd name="T1" fmla="*/ 5102 h 5102"/>
                <a:gd name="T2" fmla="*/ 1781 w 1781"/>
                <a:gd name="T3" fmla="*/ 0 h 5102"/>
                <a:gd name="T4" fmla="*/ 1770 w 1781"/>
                <a:gd name="T5" fmla="*/ 0 h 5102"/>
                <a:gd name="T6" fmla="*/ 0 w 1781"/>
                <a:gd name="T7" fmla="*/ 5102 h 5102"/>
                <a:gd name="T8" fmla="*/ 9 w 1781"/>
                <a:gd name="T9" fmla="*/ 5102 h 5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1" h="5102">
                  <a:moveTo>
                    <a:pt x="9" y="5102"/>
                  </a:moveTo>
                  <a:lnTo>
                    <a:pt x="1781" y="0"/>
                  </a:lnTo>
                  <a:lnTo>
                    <a:pt x="1770" y="0"/>
                  </a:lnTo>
                  <a:lnTo>
                    <a:pt x="0" y="5102"/>
                  </a:lnTo>
                  <a:lnTo>
                    <a:pt x="9" y="5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12"/>
            <p:cNvSpPr>
              <a:spLocks/>
            </p:cNvSpPr>
            <p:nvPr userDrawn="1"/>
          </p:nvSpPr>
          <p:spPr bwMode="black">
            <a:xfrm>
              <a:off x="5945695" y="2"/>
              <a:ext cx="1357926" cy="6857998"/>
            </a:xfrm>
            <a:custGeom>
              <a:avLst/>
              <a:gdLst>
                <a:gd name="T0" fmla="*/ 9 w 1013"/>
                <a:gd name="T1" fmla="*/ 5116 h 5116"/>
                <a:gd name="T2" fmla="*/ 1013 w 1013"/>
                <a:gd name="T3" fmla="*/ 0 h 5116"/>
                <a:gd name="T4" fmla="*/ 1004 w 1013"/>
                <a:gd name="T5" fmla="*/ 0 h 5116"/>
                <a:gd name="T6" fmla="*/ 0 w 1013"/>
                <a:gd name="T7" fmla="*/ 5116 h 5116"/>
                <a:gd name="T8" fmla="*/ 9 w 1013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3" h="5116">
                  <a:moveTo>
                    <a:pt x="9" y="5116"/>
                  </a:moveTo>
                  <a:lnTo>
                    <a:pt x="1013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753476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 bwMode="black">
          <a:xfrm>
            <a:off x="5739926" y="0"/>
            <a:ext cx="6450487" cy="6858000"/>
            <a:chOff x="-7368753" y="-1854009"/>
            <a:chExt cx="6299342" cy="6697306"/>
          </a:xfrm>
        </p:grpSpPr>
        <p:sp>
          <p:nvSpPr>
            <p:cNvPr id="37" name="Freeform 6"/>
            <p:cNvSpPr>
              <a:spLocks/>
            </p:cNvSpPr>
            <p:nvPr userDrawn="1"/>
          </p:nvSpPr>
          <p:spPr bwMode="black">
            <a:xfrm>
              <a:off x="-3543591" y="1231517"/>
              <a:ext cx="2474180" cy="3611780"/>
            </a:xfrm>
            <a:custGeom>
              <a:avLst/>
              <a:gdLst>
                <a:gd name="T0" fmla="*/ 0 w 1890"/>
                <a:gd name="T1" fmla="*/ 2759 h 2759"/>
                <a:gd name="T2" fmla="*/ 12 w 1890"/>
                <a:gd name="T3" fmla="*/ 2759 h 2759"/>
                <a:gd name="T4" fmla="*/ 1890 w 1890"/>
                <a:gd name="T5" fmla="*/ 17 h 2759"/>
                <a:gd name="T6" fmla="*/ 1890 w 1890"/>
                <a:gd name="T7" fmla="*/ 0 h 2759"/>
                <a:gd name="T8" fmla="*/ 0 w 1890"/>
                <a:gd name="T9" fmla="*/ 275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0" h="2759">
                  <a:moveTo>
                    <a:pt x="0" y="2759"/>
                  </a:moveTo>
                  <a:lnTo>
                    <a:pt x="12" y="2759"/>
                  </a:lnTo>
                  <a:lnTo>
                    <a:pt x="1890" y="17"/>
                  </a:lnTo>
                  <a:lnTo>
                    <a:pt x="1890" y="0"/>
                  </a:lnTo>
                  <a:lnTo>
                    <a:pt x="0" y="27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38" name="Freeform 7"/>
            <p:cNvSpPr>
              <a:spLocks/>
            </p:cNvSpPr>
            <p:nvPr userDrawn="1"/>
          </p:nvSpPr>
          <p:spPr bwMode="black">
            <a:xfrm>
              <a:off x="-7368753" y="-1854009"/>
              <a:ext cx="1327417" cy="6697305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7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7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</p:grpSp>
      <p:sp>
        <p:nvSpPr>
          <p:cNvPr id="6" name="Freeform 5"/>
          <p:cNvSpPr/>
          <p:nvPr/>
        </p:nvSpPr>
        <p:spPr bwMode="ltGray">
          <a:xfrm>
            <a:off x="0" y="0"/>
            <a:ext cx="2104575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A5E2"/>
              </a:gs>
              <a:gs pos="50000">
                <a:srgbClr val="00A5E2"/>
              </a:gs>
              <a:gs pos="84000">
                <a:schemeClr val="accent2">
                  <a:alpha val="0"/>
                </a:scheme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678387" y="2989333"/>
            <a:ext cx="4500000" cy="1440753"/>
          </a:xfrm>
        </p:spPr>
        <p:txBody>
          <a:bodyPr anchor="t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C4C773C-56E9-4938-AEBD-712BC038121E}" type="datetime1">
              <a:rPr lang="en-US" smtClean="0"/>
              <a:t>9/2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September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1902190" y="2134650"/>
            <a:ext cx="4500000" cy="720000"/>
          </a:xfrm>
        </p:spPr>
        <p:txBody>
          <a:bodyPr anchor="b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175921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ltGray">
          <a:xfrm>
            <a:off x="0" y="0"/>
            <a:ext cx="2104575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74C713"/>
              </a:gs>
              <a:gs pos="50000">
                <a:srgbClr val="74C713"/>
              </a:gs>
              <a:gs pos="84000">
                <a:srgbClr val="74C713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4854344" y="1462158"/>
            <a:ext cx="4500000" cy="1440753"/>
          </a:xfrm>
        </p:spPr>
        <p:txBody>
          <a:bodyPr anchor="b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309FE29-4079-4042-82D4-30F65321BBEB}" type="datetime1">
              <a:rPr lang="en-US" smtClean="0"/>
              <a:t>9/2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September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8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55681" y="3064854"/>
            <a:ext cx="4500000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3"/>
                </a:solidFill>
              </a:defRPr>
            </a:lvl1pPr>
            <a:lvl2pPr marL="0" indent="0" algn="l">
              <a:buNone/>
              <a:defRPr sz="2400" b="1">
                <a:solidFill>
                  <a:schemeClr val="accent3"/>
                </a:solidFill>
              </a:defRPr>
            </a:lvl2pPr>
            <a:lvl3pPr marL="0" indent="0" algn="l">
              <a:buNone/>
              <a:defRPr sz="2400" b="1">
                <a:solidFill>
                  <a:schemeClr val="accent3"/>
                </a:solidFill>
              </a:defRPr>
            </a:lvl3pPr>
            <a:lvl4pPr marL="0" indent="0" algn="l">
              <a:buNone/>
              <a:defRPr sz="2400" b="1">
                <a:solidFill>
                  <a:schemeClr val="accent3"/>
                </a:solidFill>
              </a:defRPr>
            </a:lvl4pPr>
            <a:lvl5pPr marL="0" indent="0" algn="l">
              <a:buNone/>
              <a:defRPr sz="2400" b="1">
                <a:solidFill>
                  <a:schemeClr val="accent3"/>
                </a:solidFill>
              </a:defRPr>
            </a:lvl5pPr>
            <a:lvl6pPr marL="0" indent="0" algn="l">
              <a:buNone/>
              <a:defRPr sz="2400" b="1">
                <a:solidFill>
                  <a:schemeClr val="accent3"/>
                </a:solidFill>
              </a:defRPr>
            </a:lvl6pPr>
            <a:lvl7pPr marL="0" indent="0" algn="l">
              <a:buNone/>
              <a:defRPr sz="2400" b="1">
                <a:solidFill>
                  <a:schemeClr val="accent3"/>
                </a:solidFill>
              </a:defRPr>
            </a:lvl7pPr>
            <a:lvl8pPr marL="0" indent="0" algn="l">
              <a:buNone/>
              <a:defRPr sz="2400" b="1">
                <a:solidFill>
                  <a:schemeClr val="accent3"/>
                </a:solidFill>
              </a:defRPr>
            </a:lvl8pPr>
            <a:lvl9pPr marL="0" indent="0" algn="l">
              <a:buNone/>
              <a:defRPr sz="24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24" name="Group 23"/>
          <p:cNvGrpSpPr/>
          <p:nvPr/>
        </p:nvGrpSpPr>
        <p:grpSpPr bwMode="black">
          <a:xfrm>
            <a:off x="759608" y="1"/>
            <a:ext cx="4148849" cy="6858000"/>
            <a:chOff x="-13927138" y="-1074738"/>
            <a:chExt cx="4913313" cy="8121651"/>
          </a:xfrm>
          <a:solidFill>
            <a:schemeClr val="bg1"/>
          </a:solidFill>
        </p:grpSpPr>
        <p:sp>
          <p:nvSpPr>
            <p:cNvPr id="26" name="Freeform 6"/>
            <p:cNvSpPr>
              <a:spLocks/>
            </p:cNvSpPr>
            <p:nvPr userDrawn="1"/>
          </p:nvSpPr>
          <p:spPr bwMode="black">
            <a:xfrm>
              <a:off x="-13927138" y="-1074738"/>
              <a:ext cx="2947988" cy="8121651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black">
            <a:xfrm>
              <a:off x="-10623550" y="-1074738"/>
              <a:ext cx="1609725" cy="8121651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4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291841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6166E1B-5D18-476A-8C5F-E90A4ECE4845}" type="datetime1">
              <a:rPr lang="en-US" smtClean="0"/>
              <a:t>9/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981820" y="1732751"/>
            <a:ext cx="10798461" cy="47519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027078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EDDFC53-89AB-4BE8-8EEE-3EC422BCF930}" type="datetime1">
              <a:rPr lang="en-US" smtClean="0"/>
              <a:t>9/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6"/>
          </p:nvPr>
        </p:nvSpPr>
        <p:spPr>
          <a:xfrm>
            <a:off x="981820" y="1732750"/>
            <a:ext cx="5220000" cy="47520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7"/>
          </p:nvPr>
        </p:nvSpPr>
        <p:spPr>
          <a:xfrm>
            <a:off x="6559603" y="1732750"/>
            <a:ext cx="5220000" cy="47520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41591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  <p15:guide id="5" pos="619">
          <p15:clr>
            <a:srgbClr val="FBAE40"/>
          </p15:clr>
        </p15:guide>
        <p15:guide id="6" pos="7423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 &amp;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13F43FA-A88D-45CF-A998-B7633C7E9A49}" type="datetime1">
              <a:rPr lang="en-US" smtClean="0"/>
              <a:t>9/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981820" y="3892749"/>
            <a:ext cx="5220000" cy="25920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559719" y="3892749"/>
            <a:ext cx="5220000" cy="2592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 14 (left)"/>
          <p:cNvSpPr>
            <a:spLocks noGrp="1"/>
          </p:cNvSpPr>
          <p:nvPr>
            <p:ph type="pic" sz="quarter" idx="16"/>
          </p:nvPr>
        </p:nvSpPr>
        <p:spPr bwMode="gray">
          <a:xfrm>
            <a:off x="981820" y="1732750"/>
            <a:ext cx="522000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14 (right)"/>
          <p:cNvSpPr>
            <a:spLocks noGrp="1"/>
          </p:cNvSpPr>
          <p:nvPr>
            <p:ph type="pic" sz="quarter" idx="17"/>
          </p:nvPr>
        </p:nvSpPr>
        <p:spPr bwMode="gray">
          <a:xfrm>
            <a:off x="6559719" y="1732750"/>
            <a:ext cx="522000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187743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2228">
          <p15:clr>
            <a:srgbClr val="FBAE40"/>
          </p15:clr>
        </p15:guide>
        <p15:guide id="4" orient="horz" pos="2455">
          <p15:clr>
            <a:srgbClr val="FBAE40"/>
          </p15:clr>
        </p15:guide>
        <p15:guide id="5" pos="619">
          <p15:clr>
            <a:srgbClr val="FBAE40"/>
          </p15:clr>
        </p15:guide>
        <p15:guide id="6" pos="7423">
          <p15:clr>
            <a:srgbClr val="FBAE40"/>
          </p15:clr>
        </p15:guide>
        <p15:guide id="7" orient="horz" pos="1094">
          <p15:clr>
            <a:srgbClr val="FBAE40"/>
          </p15:clr>
        </p15:guide>
        <p15:guide id="8" orient="horz" pos="4085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6DB8775-8226-4E8C-BBBC-5A871E3E17A7}" type="datetime1">
              <a:rPr lang="en-US" smtClean="0"/>
              <a:t>9/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220368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4086">
          <p15:clr>
            <a:srgbClr val="FBAE40"/>
          </p15:clr>
        </p15:guide>
        <p15:guide id="4" orient="horz" pos="1094">
          <p15:clr>
            <a:srgbClr val="FBAE40"/>
          </p15:clr>
        </p15:guide>
        <p15:guide id="5" pos="2150">
          <p15:clr>
            <a:srgbClr val="FBAE40"/>
          </p15:clr>
        </p15:guide>
        <p15:guide id="6" pos="2376">
          <p15:clr>
            <a:srgbClr val="FBAE40"/>
          </p15:clr>
        </p15:guide>
        <p15:guide id="7" pos="3908">
          <p15:clr>
            <a:srgbClr val="FBAE40"/>
          </p15:clr>
        </p15:guide>
        <p15:guide id="8" pos="4021">
          <p15:clr>
            <a:srgbClr val="FBAE40"/>
          </p15:clr>
        </p15:guide>
        <p15:guide id="9" pos="4134">
          <p15:clr>
            <a:srgbClr val="FBAE40"/>
          </p15:clr>
        </p15:guide>
        <p15:guide id="10" pos="5667">
          <p15:clr>
            <a:srgbClr val="FBAE40"/>
          </p15:clr>
        </p15:guide>
        <p15:guide id="11" pos="5894">
          <p15:clr>
            <a:srgbClr val="FBAE40"/>
          </p15:clr>
        </p15:guide>
        <p15:guide id="12" orient="horz" pos="2478">
          <p15:clr>
            <a:srgbClr val="FBAE40"/>
          </p15:clr>
        </p15:guide>
        <p15:guide id="13" orient="horz" pos="2704">
          <p15:clr>
            <a:srgbClr val="FBAE40"/>
          </p15:clr>
        </p15:guide>
        <p15:guide id="14" orient="horz" pos="259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8331062-53AF-412B-A235-6DCBA819F08B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99CCC57-2F27-4712-AC15-A35FC57882C5}" type="datetime1">
              <a:rPr lang="en-US" smtClean="0"/>
              <a:t>9/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F895202-4A4D-43A2-B3BF-4253EA64031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2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82EE1829-716E-40CB-A4A0-CAB36B358641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167711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980282" y="1052513"/>
            <a:ext cx="10800000" cy="5432237"/>
          </a:xfrm>
        </p:spPr>
        <p:txBody>
          <a:bodyPr bIns="0" anchor="ctr"/>
          <a:lstStyle>
            <a:lvl1pPr marL="0" indent="0" algn="l">
              <a:buNone/>
              <a:defRPr sz="6600">
                <a:solidFill>
                  <a:schemeClr val="tx2"/>
                </a:solidFill>
              </a:defRPr>
            </a:lvl1pPr>
            <a:lvl2pPr marL="0" indent="0" algn="l">
              <a:buNone/>
              <a:defRPr sz="6600">
                <a:solidFill>
                  <a:schemeClr val="tx2"/>
                </a:solidFill>
              </a:defRPr>
            </a:lvl2pPr>
            <a:lvl3pPr marL="0" indent="0" algn="l">
              <a:buNone/>
              <a:defRPr sz="6600">
                <a:solidFill>
                  <a:schemeClr val="tx2"/>
                </a:solidFill>
              </a:defRPr>
            </a:lvl3pPr>
            <a:lvl4pPr marL="0" indent="0" algn="l">
              <a:buNone/>
              <a:defRPr sz="6600">
                <a:solidFill>
                  <a:schemeClr val="tx2"/>
                </a:solidFill>
              </a:defRPr>
            </a:lvl4pPr>
            <a:lvl5pPr marL="0" indent="0" algn="l">
              <a:buNone/>
              <a:defRPr sz="6600">
                <a:solidFill>
                  <a:schemeClr val="tx2"/>
                </a:solidFill>
              </a:defRPr>
            </a:lvl5pPr>
            <a:lvl6pPr marL="0" indent="0" algn="l">
              <a:buNone/>
              <a:defRPr sz="6600">
                <a:solidFill>
                  <a:schemeClr val="tx2"/>
                </a:solidFill>
              </a:defRPr>
            </a:lvl6pPr>
            <a:lvl7pPr marL="0" indent="0" algn="l">
              <a:buNone/>
              <a:defRPr sz="6600">
                <a:solidFill>
                  <a:schemeClr val="tx2"/>
                </a:solidFill>
              </a:defRPr>
            </a:lvl7pPr>
            <a:lvl8pPr marL="0" indent="0" algn="l">
              <a:buNone/>
              <a:defRPr sz="6600">
                <a:solidFill>
                  <a:schemeClr val="tx2"/>
                </a:solidFill>
              </a:defRPr>
            </a:lvl8pPr>
            <a:lvl9pPr marL="0" indent="0" algn="l">
              <a:buNone/>
              <a:defRPr sz="66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096B027-38B9-43F7-A592-83EA0A775820}" type="datetime1">
              <a:rPr lang="en-US" smtClean="0"/>
              <a:t>9/2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September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279391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663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4F30451-A35E-4E06-ABE9-57892F294C45}" type="datetime1">
              <a:rPr lang="en-US" smtClean="0"/>
              <a:t>9/2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0" y="0"/>
            <a:ext cx="12190413" cy="6858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6395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19" y="1732422"/>
            <a:ext cx="5381498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3BDA798-F8E0-4709-A972-C462B33FAF2F}" type="datetime1">
              <a:rPr lang="en-US" smtClean="0"/>
              <a:t>9/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19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767669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2B6636"/>
              </a:gs>
              <a:gs pos="0">
                <a:srgbClr val="2B6636"/>
              </a:gs>
              <a:gs pos="72000">
                <a:srgbClr val="00442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21" y="1732757"/>
            <a:ext cx="5381496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8FB917D-8BDA-4646-85F0-B3EB7EC9AA4C}" type="datetime1">
              <a:rPr lang="en-US" smtClean="0"/>
              <a:t>9/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20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628462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624963"/>
              </a:gs>
              <a:gs pos="0">
                <a:srgbClr val="624963"/>
              </a:gs>
              <a:gs pos="72000">
                <a:srgbClr val="443247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20" y="1732757"/>
            <a:ext cx="5381496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3C03279-9369-4B60-857C-CA23090BD5EE}" type="datetime1">
              <a:rPr lang="en-US" smtClean="0"/>
              <a:t>9/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20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49895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ED9FCB3-9B29-42A8-A735-DBF9B3C4108B}" type="datetime1">
              <a:rPr lang="en-US" smtClean="0"/>
              <a:t>9/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7841" y="0"/>
            <a:ext cx="8114953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3"/>
              <a:gd name="connsiteY0" fmla="*/ 0 h 6858000"/>
              <a:gd name="connsiteX1" fmla="*/ 8112573 w 8114953"/>
              <a:gd name="connsiteY1" fmla="*/ 0 h 6858000"/>
              <a:gd name="connsiteX2" fmla="*/ 8114953 w 8114953"/>
              <a:gd name="connsiteY2" fmla="*/ 6003673 h 6858000"/>
              <a:gd name="connsiteX3" fmla="*/ 3275459 w 8114953"/>
              <a:gd name="connsiteY3" fmla="*/ 6858000 h 6858000"/>
              <a:gd name="connsiteX4" fmla="*/ 0 w 8114953"/>
              <a:gd name="connsiteY4" fmla="*/ 6858000 h 6858000"/>
              <a:gd name="connsiteX5" fmla="*/ 1341581 w 811495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3" y="4090555"/>
                  <a:pt x="8114953" y="6003673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48928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1" y="1138299"/>
            <a:ext cx="10798460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CF860A4-0901-4136-B282-B4E7E4A6C8C7}" type="datetime1">
              <a:rPr lang="en-US" smtClean="0"/>
              <a:pPr/>
              <a:t>9/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16:9 Template /// December 2017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>
              <a:solidFill>
                <a:srgbClr val="00BCFF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980281" y="1732751"/>
            <a:ext cx="10800000" cy="475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6018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57163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1976765" y="403540"/>
            <a:ext cx="9624002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2005337" y="1843721"/>
            <a:ext cx="4680000" cy="4641030"/>
          </a:xfrm>
        </p:spPr>
        <p:txBody>
          <a:bodyPr/>
          <a:lstStyle>
            <a:lvl1pPr marL="270000" indent="-270000">
              <a:spcBef>
                <a:spcPts val="1800"/>
              </a:spcBef>
              <a:spcAft>
                <a:spcPts val="0"/>
              </a:spcAft>
              <a:buFontTx/>
              <a:buBlip>
                <a:blip r:embed="rId3"/>
              </a:buBlip>
              <a:defRPr sz="2000"/>
            </a:lvl1pPr>
            <a:lvl2pPr marL="54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4"/>
              </a:buBlip>
              <a:defRPr sz="2000"/>
            </a:lvl2pPr>
            <a:lvl3pPr marL="81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5"/>
              </a:buBlip>
              <a:defRPr sz="2000"/>
            </a:lvl3pPr>
            <a:lvl4pPr marL="108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6"/>
              </a:buBlip>
              <a:defRPr sz="2000"/>
            </a:lvl4pPr>
            <a:lvl5pPr>
              <a:spcBef>
                <a:spcPts val="600"/>
              </a:spcBef>
              <a:spcAft>
                <a:spcPts val="0"/>
              </a:spcAft>
              <a:defRPr sz="2000"/>
            </a:lvl5pPr>
            <a:lvl6pPr>
              <a:spcBef>
                <a:spcPts val="600"/>
              </a:spcBef>
              <a:spcAft>
                <a:spcPts val="0"/>
              </a:spcAft>
              <a:defRPr sz="2000"/>
            </a:lvl6pPr>
            <a:lvl7pPr>
              <a:spcBef>
                <a:spcPts val="600"/>
              </a:spcBef>
              <a:spcAft>
                <a:spcPts val="0"/>
              </a:spcAft>
              <a:defRPr sz="2000"/>
            </a:lvl7pPr>
            <a:lvl8pPr>
              <a:spcBef>
                <a:spcPts val="600"/>
              </a:spcBef>
              <a:spcAft>
                <a:spcPts val="0"/>
              </a:spcAft>
              <a:defRPr sz="2000"/>
            </a:lvl8pPr>
            <a:lvl9pPr>
              <a:spcBef>
                <a:spcPts val="600"/>
              </a:spcBef>
              <a:spcAft>
                <a:spcPts val="0"/>
              </a:spcAft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EB53ADF-5111-40B8-BD25-E86AF4ED5048}" type="datetime1">
              <a:rPr lang="en-US" smtClean="0"/>
              <a:t>9/2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974672" y="6617933"/>
            <a:ext cx="5710665" cy="108000"/>
          </a:xfrm>
        </p:spPr>
        <p:txBody>
          <a:bodyPr/>
          <a:lstStyle/>
          <a:p>
            <a:r>
              <a:rPr lang="en-US"/>
              <a:t>/// Bayer 16:9 Template /// September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95843" y="6617933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832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 bwMode="black">
          <a:xfrm>
            <a:off x="7804236" y="1"/>
            <a:ext cx="4386177" cy="6858000"/>
            <a:chOff x="7804236" y="1"/>
            <a:chExt cx="4386177" cy="6858000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6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733913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254">
          <p15:clr>
            <a:srgbClr val="FBAE40"/>
          </p15:clr>
        </p15:guide>
        <p15:guide id="2" orient="horz" pos="4086">
          <p15:clr>
            <a:srgbClr val="FBAE40"/>
          </p15:clr>
        </p15:guide>
        <p15:guide id="3" orient="horz" pos="1162">
          <p15:clr>
            <a:srgbClr val="FBAE40"/>
          </p15:clr>
        </p15:guide>
        <p15:guide id="4" pos="421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invGray">
          <a:xfrm>
            <a:off x="0" y="0"/>
            <a:ext cx="2104575" cy="6861175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1175"/>
              <a:gd name="connsiteX1" fmla="*/ 2104575 w 2104575"/>
              <a:gd name="connsiteY1" fmla="*/ 0 h 6861175"/>
              <a:gd name="connsiteX2" fmla="*/ 650732 w 2104575"/>
              <a:gd name="connsiteY2" fmla="*/ 6861175 h 6861175"/>
              <a:gd name="connsiteX3" fmla="*/ 0 w 2104575"/>
              <a:gd name="connsiteY3" fmla="*/ 6858000 h 6861175"/>
              <a:gd name="connsiteX4" fmla="*/ 0 w 2104575"/>
              <a:gd name="connsiteY4" fmla="*/ 0 h 686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1175">
                <a:moveTo>
                  <a:pt x="0" y="0"/>
                </a:moveTo>
                <a:lnTo>
                  <a:pt x="2104575" y="0"/>
                </a:lnTo>
                <a:lnTo>
                  <a:pt x="650732" y="6861175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E61A5D"/>
              </a:gs>
              <a:gs pos="50000">
                <a:srgbClr val="E61A5D"/>
              </a:gs>
              <a:gs pos="84000">
                <a:srgbClr val="E61A5D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ACA9DDE-6CF4-4C99-A2B7-6AB362D7B47D}" type="datetime1">
              <a:rPr lang="en-US" smtClean="0"/>
              <a:t>9/2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September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6846097" y="3064854"/>
            <a:ext cx="4500000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1809949" y="1473902"/>
            <a:ext cx="4140000" cy="1440753"/>
          </a:xfrm>
        </p:spPr>
        <p:txBody>
          <a:bodyPr anchor="b"/>
          <a:lstStyle>
            <a:lvl1pPr algn="r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49" name="Group 48"/>
          <p:cNvGrpSpPr/>
          <p:nvPr/>
        </p:nvGrpSpPr>
        <p:grpSpPr bwMode="black">
          <a:xfrm>
            <a:off x="4710111" y="1"/>
            <a:ext cx="2593510" cy="6858000"/>
            <a:chOff x="4710111" y="1"/>
            <a:chExt cx="2593510" cy="6858000"/>
          </a:xfrm>
        </p:grpSpPr>
        <p:sp>
          <p:nvSpPr>
            <p:cNvPr id="50" name="Freeform 6"/>
            <p:cNvSpPr>
              <a:spLocks/>
            </p:cNvSpPr>
            <p:nvPr userDrawn="1"/>
          </p:nvSpPr>
          <p:spPr bwMode="black">
            <a:xfrm>
              <a:off x="4710111" y="1"/>
              <a:ext cx="2393982" cy="6858000"/>
            </a:xfrm>
            <a:custGeom>
              <a:avLst/>
              <a:gdLst>
                <a:gd name="T0" fmla="*/ 9 w 1781"/>
                <a:gd name="T1" fmla="*/ 5102 h 5102"/>
                <a:gd name="T2" fmla="*/ 1781 w 1781"/>
                <a:gd name="T3" fmla="*/ 0 h 5102"/>
                <a:gd name="T4" fmla="*/ 1770 w 1781"/>
                <a:gd name="T5" fmla="*/ 0 h 5102"/>
                <a:gd name="T6" fmla="*/ 0 w 1781"/>
                <a:gd name="T7" fmla="*/ 5102 h 5102"/>
                <a:gd name="T8" fmla="*/ 9 w 1781"/>
                <a:gd name="T9" fmla="*/ 5102 h 5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1" h="5102">
                  <a:moveTo>
                    <a:pt x="9" y="5102"/>
                  </a:moveTo>
                  <a:lnTo>
                    <a:pt x="1781" y="0"/>
                  </a:lnTo>
                  <a:lnTo>
                    <a:pt x="1770" y="0"/>
                  </a:lnTo>
                  <a:lnTo>
                    <a:pt x="0" y="5102"/>
                  </a:lnTo>
                  <a:lnTo>
                    <a:pt x="9" y="5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12"/>
            <p:cNvSpPr>
              <a:spLocks/>
            </p:cNvSpPr>
            <p:nvPr userDrawn="1"/>
          </p:nvSpPr>
          <p:spPr bwMode="black">
            <a:xfrm>
              <a:off x="5945695" y="2"/>
              <a:ext cx="1357926" cy="6857998"/>
            </a:xfrm>
            <a:custGeom>
              <a:avLst/>
              <a:gdLst>
                <a:gd name="T0" fmla="*/ 9 w 1013"/>
                <a:gd name="T1" fmla="*/ 5116 h 5116"/>
                <a:gd name="T2" fmla="*/ 1013 w 1013"/>
                <a:gd name="T3" fmla="*/ 0 h 5116"/>
                <a:gd name="T4" fmla="*/ 1004 w 1013"/>
                <a:gd name="T5" fmla="*/ 0 h 5116"/>
                <a:gd name="T6" fmla="*/ 0 w 1013"/>
                <a:gd name="T7" fmla="*/ 5116 h 5116"/>
                <a:gd name="T8" fmla="*/ 9 w 1013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3" h="5116">
                  <a:moveTo>
                    <a:pt x="9" y="5116"/>
                  </a:moveTo>
                  <a:lnTo>
                    <a:pt x="1013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341354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 bwMode="black">
          <a:xfrm>
            <a:off x="5739926" y="0"/>
            <a:ext cx="6450487" cy="6858000"/>
            <a:chOff x="-7368753" y="-1854009"/>
            <a:chExt cx="6299342" cy="6697306"/>
          </a:xfrm>
        </p:grpSpPr>
        <p:sp>
          <p:nvSpPr>
            <p:cNvPr id="37" name="Freeform 6"/>
            <p:cNvSpPr>
              <a:spLocks/>
            </p:cNvSpPr>
            <p:nvPr userDrawn="1"/>
          </p:nvSpPr>
          <p:spPr bwMode="black">
            <a:xfrm>
              <a:off x="-3543591" y="1231517"/>
              <a:ext cx="2474180" cy="3611780"/>
            </a:xfrm>
            <a:custGeom>
              <a:avLst/>
              <a:gdLst>
                <a:gd name="T0" fmla="*/ 0 w 1890"/>
                <a:gd name="T1" fmla="*/ 2759 h 2759"/>
                <a:gd name="T2" fmla="*/ 12 w 1890"/>
                <a:gd name="T3" fmla="*/ 2759 h 2759"/>
                <a:gd name="T4" fmla="*/ 1890 w 1890"/>
                <a:gd name="T5" fmla="*/ 17 h 2759"/>
                <a:gd name="T6" fmla="*/ 1890 w 1890"/>
                <a:gd name="T7" fmla="*/ 0 h 2759"/>
                <a:gd name="T8" fmla="*/ 0 w 1890"/>
                <a:gd name="T9" fmla="*/ 275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0" h="2759">
                  <a:moveTo>
                    <a:pt x="0" y="2759"/>
                  </a:moveTo>
                  <a:lnTo>
                    <a:pt x="12" y="2759"/>
                  </a:lnTo>
                  <a:lnTo>
                    <a:pt x="1890" y="17"/>
                  </a:lnTo>
                  <a:lnTo>
                    <a:pt x="1890" y="0"/>
                  </a:lnTo>
                  <a:lnTo>
                    <a:pt x="0" y="27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38" name="Freeform 7"/>
            <p:cNvSpPr>
              <a:spLocks/>
            </p:cNvSpPr>
            <p:nvPr userDrawn="1"/>
          </p:nvSpPr>
          <p:spPr bwMode="black">
            <a:xfrm>
              <a:off x="-7368753" y="-1854009"/>
              <a:ext cx="1327417" cy="6697305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7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7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</p:grpSp>
      <p:sp>
        <p:nvSpPr>
          <p:cNvPr id="6" name="Freeform 5"/>
          <p:cNvSpPr/>
          <p:nvPr/>
        </p:nvSpPr>
        <p:spPr bwMode="ltGray">
          <a:xfrm>
            <a:off x="0" y="0"/>
            <a:ext cx="2104575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A5E2"/>
              </a:gs>
              <a:gs pos="50000">
                <a:srgbClr val="00A5E2"/>
              </a:gs>
              <a:gs pos="84000">
                <a:schemeClr val="accent2">
                  <a:alpha val="0"/>
                </a:scheme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678387" y="2989333"/>
            <a:ext cx="4500000" cy="1440753"/>
          </a:xfrm>
        </p:spPr>
        <p:txBody>
          <a:bodyPr anchor="t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C4C773C-56E9-4938-AEBD-712BC038121E}" type="datetime1">
              <a:rPr lang="en-US" smtClean="0"/>
              <a:t>9/2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September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1902190" y="2134650"/>
            <a:ext cx="4500000" cy="720000"/>
          </a:xfrm>
        </p:spPr>
        <p:txBody>
          <a:bodyPr anchor="b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678404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ltGray">
          <a:xfrm>
            <a:off x="0" y="0"/>
            <a:ext cx="2104575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74C713"/>
              </a:gs>
              <a:gs pos="50000">
                <a:srgbClr val="74C713"/>
              </a:gs>
              <a:gs pos="84000">
                <a:srgbClr val="74C713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4854344" y="1462158"/>
            <a:ext cx="4500000" cy="1440753"/>
          </a:xfrm>
        </p:spPr>
        <p:txBody>
          <a:bodyPr anchor="b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309FE29-4079-4042-82D4-30F65321BBEB}" type="datetime1">
              <a:rPr lang="en-US" smtClean="0"/>
              <a:t>9/2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September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8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55681" y="3064854"/>
            <a:ext cx="4500000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3"/>
                </a:solidFill>
              </a:defRPr>
            </a:lvl1pPr>
            <a:lvl2pPr marL="0" indent="0" algn="l">
              <a:buNone/>
              <a:defRPr sz="2400" b="1">
                <a:solidFill>
                  <a:schemeClr val="accent3"/>
                </a:solidFill>
              </a:defRPr>
            </a:lvl2pPr>
            <a:lvl3pPr marL="0" indent="0" algn="l">
              <a:buNone/>
              <a:defRPr sz="2400" b="1">
                <a:solidFill>
                  <a:schemeClr val="accent3"/>
                </a:solidFill>
              </a:defRPr>
            </a:lvl3pPr>
            <a:lvl4pPr marL="0" indent="0" algn="l">
              <a:buNone/>
              <a:defRPr sz="2400" b="1">
                <a:solidFill>
                  <a:schemeClr val="accent3"/>
                </a:solidFill>
              </a:defRPr>
            </a:lvl4pPr>
            <a:lvl5pPr marL="0" indent="0" algn="l">
              <a:buNone/>
              <a:defRPr sz="2400" b="1">
                <a:solidFill>
                  <a:schemeClr val="accent3"/>
                </a:solidFill>
              </a:defRPr>
            </a:lvl5pPr>
            <a:lvl6pPr marL="0" indent="0" algn="l">
              <a:buNone/>
              <a:defRPr sz="2400" b="1">
                <a:solidFill>
                  <a:schemeClr val="accent3"/>
                </a:solidFill>
              </a:defRPr>
            </a:lvl6pPr>
            <a:lvl7pPr marL="0" indent="0" algn="l">
              <a:buNone/>
              <a:defRPr sz="2400" b="1">
                <a:solidFill>
                  <a:schemeClr val="accent3"/>
                </a:solidFill>
              </a:defRPr>
            </a:lvl7pPr>
            <a:lvl8pPr marL="0" indent="0" algn="l">
              <a:buNone/>
              <a:defRPr sz="2400" b="1">
                <a:solidFill>
                  <a:schemeClr val="accent3"/>
                </a:solidFill>
              </a:defRPr>
            </a:lvl8pPr>
            <a:lvl9pPr marL="0" indent="0" algn="l">
              <a:buNone/>
              <a:defRPr sz="24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24" name="Group 23"/>
          <p:cNvGrpSpPr/>
          <p:nvPr/>
        </p:nvGrpSpPr>
        <p:grpSpPr bwMode="black">
          <a:xfrm>
            <a:off x="759608" y="1"/>
            <a:ext cx="4148849" cy="6858000"/>
            <a:chOff x="-13927138" y="-1074738"/>
            <a:chExt cx="4913313" cy="8121651"/>
          </a:xfrm>
          <a:solidFill>
            <a:schemeClr val="bg1"/>
          </a:solidFill>
        </p:grpSpPr>
        <p:sp>
          <p:nvSpPr>
            <p:cNvPr id="26" name="Freeform 6"/>
            <p:cNvSpPr>
              <a:spLocks/>
            </p:cNvSpPr>
            <p:nvPr userDrawn="1"/>
          </p:nvSpPr>
          <p:spPr bwMode="black">
            <a:xfrm>
              <a:off x="-13927138" y="-1074738"/>
              <a:ext cx="2947988" cy="8121651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black">
            <a:xfrm>
              <a:off x="-10623550" y="-1074738"/>
              <a:ext cx="1609725" cy="8121651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4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269252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6166E1B-5D18-476A-8C5F-E90A4ECE4845}" type="datetime1">
              <a:rPr lang="en-US" smtClean="0"/>
              <a:t>9/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981820" y="1732751"/>
            <a:ext cx="10798461" cy="47519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03183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EDDFC53-89AB-4BE8-8EEE-3EC422BCF930}" type="datetime1">
              <a:rPr lang="en-US" smtClean="0"/>
              <a:t>9/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6"/>
          </p:nvPr>
        </p:nvSpPr>
        <p:spPr>
          <a:xfrm>
            <a:off x="981820" y="1732750"/>
            <a:ext cx="5220000" cy="47520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7"/>
          </p:nvPr>
        </p:nvSpPr>
        <p:spPr>
          <a:xfrm>
            <a:off x="6559603" y="1732750"/>
            <a:ext cx="5220000" cy="47520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29849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  <p15:guide id="5" pos="619">
          <p15:clr>
            <a:srgbClr val="FBAE40"/>
          </p15:clr>
        </p15:guide>
        <p15:guide id="6" pos="7423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1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image" Target="../media/image4.png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28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80281" y="1732751"/>
            <a:ext cx="10800000" cy="47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1121231" y="6617933"/>
            <a:ext cx="48895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700">
                <a:noFill/>
              </a:defRPr>
            </a:lvl1pPr>
            <a:lvl2pPr marL="1588" indent="0" algn="r">
              <a:defRPr sz="700">
                <a:noFill/>
              </a:defRPr>
            </a:lvl2pPr>
            <a:lvl3pPr marL="0" indent="0" algn="r">
              <a:defRPr sz="700">
                <a:noFill/>
              </a:defRPr>
            </a:lvl3pPr>
            <a:lvl4pPr marL="0" indent="0" algn="r">
              <a:tabLst/>
              <a:defRPr sz="700">
                <a:noFill/>
              </a:defRPr>
            </a:lvl4pPr>
            <a:lvl5pPr marL="0" indent="0" algn="r">
              <a:defRPr sz="700">
                <a:noFill/>
              </a:defRPr>
            </a:lvl5pPr>
            <a:lvl6pPr marL="0" indent="0" algn="r">
              <a:defRPr sz="700">
                <a:noFill/>
              </a:defRPr>
            </a:lvl6pPr>
            <a:lvl7pPr marL="0" indent="0" algn="r">
              <a:defRPr sz="700">
                <a:noFill/>
              </a:defRPr>
            </a:lvl7pPr>
            <a:lvl8pPr marL="0" indent="0" algn="r">
              <a:defRPr sz="700">
                <a:noFill/>
              </a:defRPr>
            </a:lvl8pPr>
            <a:lvl9pPr marL="0" indent="0" algn="r">
              <a:defRPr sz="700">
                <a:noFill/>
              </a:defRPr>
            </a:lvl9pPr>
          </a:lstStyle>
          <a:p>
            <a:fld id="{67D9247B-7051-4DBD-8540-3BFDAC611952}" type="datetime1">
              <a:rPr lang="en-US" smtClean="0"/>
              <a:t>9/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974672" y="6617933"/>
            <a:ext cx="864000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700">
                <a:solidFill>
                  <a:schemeClr val="accent1"/>
                </a:solidFill>
              </a:defRPr>
            </a:lvl1pPr>
            <a:lvl2pPr marL="0" indent="0">
              <a:defRPr sz="700">
                <a:solidFill>
                  <a:schemeClr val="accent1"/>
                </a:solidFill>
              </a:defRPr>
            </a:lvl2pPr>
            <a:lvl3pPr marL="0" indent="0">
              <a:defRPr sz="700">
                <a:solidFill>
                  <a:schemeClr val="accent1"/>
                </a:solidFill>
              </a:defRPr>
            </a:lvl3pPr>
            <a:lvl4pPr marL="0" indent="0">
              <a:defRPr sz="700">
                <a:solidFill>
                  <a:schemeClr val="accent1"/>
                </a:solidFill>
              </a:defRPr>
            </a:lvl4pPr>
            <a:lvl5pPr marL="0" indent="0">
              <a:defRPr sz="700">
                <a:solidFill>
                  <a:schemeClr val="accent1"/>
                </a:solidFill>
              </a:defRPr>
            </a:lvl5pPr>
            <a:lvl6pPr marL="0" indent="0">
              <a:tabLst/>
              <a:defRPr sz="700">
                <a:solidFill>
                  <a:schemeClr val="accent1"/>
                </a:solidFill>
              </a:defRPr>
            </a:lvl6pPr>
            <a:lvl7pPr marL="0" indent="0">
              <a:tabLst/>
              <a:defRPr sz="700">
                <a:solidFill>
                  <a:schemeClr val="accent1"/>
                </a:solidFill>
              </a:defRPr>
            </a:lvl7pPr>
            <a:lvl8pPr marL="0" indent="0">
              <a:defRPr sz="700">
                <a:solidFill>
                  <a:schemeClr val="accent1"/>
                </a:solidFill>
              </a:defRPr>
            </a:lvl8pPr>
            <a:lvl9pPr marL="0" indent="0">
              <a:defRPr sz="700">
                <a:solidFill>
                  <a:schemeClr val="accent1"/>
                </a:solidFill>
              </a:defRPr>
            </a:lvl9pPr>
          </a:lstStyle>
          <a:p>
            <a:r>
              <a:rPr lang="en-US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95843" y="6617933"/>
            <a:ext cx="392326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empower - DO NOT DELETE!!!" hidden="1"/>
          <p:cNvSpPr/>
          <p:nvPr userDrawn="1">
            <p:custDataLst>
              <p:tags r:id="rId20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9" name="MSIPCMContentMarking" descr="{&quot;HashCode&quot;:-242339457,&quot;Placement&quot;:&quot;Footer&quot;,&quot;Top&quot;:503.1945,&quot;Left&quot;:812.3856,&quot;SlideWidth&quot;:959,&quot;SlideHeight&quot;:540}">
            <a:extLst>
              <a:ext uri="{FF2B5EF4-FFF2-40B4-BE49-F238E27FC236}">
                <a16:creationId xmlns:a16="http://schemas.microsoft.com/office/drawing/2014/main" id="{211E75F9-D8FE-4C17-B9BE-D25D40801220}"/>
              </a:ext>
            </a:extLst>
          </p:cNvPr>
          <p:cNvSpPr txBox="1"/>
          <p:nvPr userDrawn="1"/>
        </p:nvSpPr>
        <p:spPr bwMode="gray">
          <a:xfrm>
            <a:off x="10317297" y="6390570"/>
            <a:ext cx="1873115" cy="46742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200" b="0" i="0" u="none" baseline="0">
                <a:solidFill>
                  <a:srgbClr val="FF8939"/>
                </a:solidFill>
                <a:latin typeface="Calibri" panose="020F0502020204030204" pitchFamily="34" charset="0"/>
              </a:rPr>
              <a:t>RESTRICTED</a:t>
            </a:r>
            <a:endParaRPr lang="en-US" sz="2200" b="0" i="0" u="none" baseline="0" dirty="0">
              <a:solidFill>
                <a:srgbClr val="FF8939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4561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6" r:id="rId1"/>
    <p:sldLayoutId id="2147484357" r:id="rId2"/>
    <p:sldLayoutId id="2147484358" r:id="rId3"/>
    <p:sldLayoutId id="2147484359" r:id="rId4"/>
    <p:sldLayoutId id="2147484360" r:id="rId5"/>
    <p:sldLayoutId id="2147484361" r:id="rId6"/>
    <p:sldLayoutId id="2147484362" r:id="rId7"/>
    <p:sldLayoutId id="2147484363" r:id="rId8"/>
    <p:sldLayoutId id="2147484364" r:id="rId9"/>
    <p:sldLayoutId id="2147484365" r:id="rId10"/>
    <p:sldLayoutId id="2147484366" r:id="rId11"/>
    <p:sldLayoutId id="2147484367" r:id="rId12"/>
    <p:sldLayoutId id="2147484368" r:id="rId13"/>
    <p:sldLayoutId id="2147484369" r:id="rId14"/>
    <p:sldLayoutId id="2147484370" r:id="rId15"/>
    <p:sldLayoutId id="2147484371" r:id="rId16"/>
    <p:sldLayoutId id="2147484375" r:id="rId17"/>
    <p:sldLayoutId id="2147484377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1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2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4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4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4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4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4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80281" y="1732751"/>
            <a:ext cx="10800000" cy="47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1121231" y="6617933"/>
            <a:ext cx="48895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700">
                <a:noFill/>
              </a:defRPr>
            </a:lvl1pPr>
            <a:lvl2pPr marL="1588" indent="0" algn="r">
              <a:defRPr sz="700">
                <a:noFill/>
              </a:defRPr>
            </a:lvl2pPr>
            <a:lvl3pPr marL="0" indent="0" algn="r">
              <a:defRPr sz="700">
                <a:noFill/>
              </a:defRPr>
            </a:lvl3pPr>
            <a:lvl4pPr marL="0" indent="0" algn="r">
              <a:tabLst/>
              <a:defRPr sz="700">
                <a:noFill/>
              </a:defRPr>
            </a:lvl4pPr>
            <a:lvl5pPr marL="0" indent="0" algn="r">
              <a:defRPr sz="700">
                <a:noFill/>
              </a:defRPr>
            </a:lvl5pPr>
            <a:lvl6pPr marL="0" indent="0" algn="r">
              <a:defRPr sz="700">
                <a:noFill/>
              </a:defRPr>
            </a:lvl6pPr>
            <a:lvl7pPr marL="0" indent="0" algn="r">
              <a:defRPr sz="700">
                <a:noFill/>
              </a:defRPr>
            </a:lvl7pPr>
            <a:lvl8pPr marL="0" indent="0" algn="r">
              <a:defRPr sz="700">
                <a:noFill/>
              </a:defRPr>
            </a:lvl8pPr>
            <a:lvl9pPr marL="0" indent="0" algn="r">
              <a:defRPr sz="700">
                <a:noFill/>
              </a:defRPr>
            </a:lvl9pPr>
          </a:lstStyle>
          <a:p>
            <a:fld id="{67D9247B-7051-4DBD-8540-3BFDAC611952}" type="datetime1">
              <a:rPr lang="en-US" smtClean="0"/>
              <a:t>9/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974672" y="6617933"/>
            <a:ext cx="864000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700">
                <a:solidFill>
                  <a:schemeClr val="accent1"/>
                </a:solidFill>
              </a:defRPr>
            </a:lvl1pPr>
            <a:lvl2pPr marL="0" indent="0">
              <a:defRPr sz="700">
                <a:solidFill>
                  <a:schemeClr val="accent1"/>
                </a:solidFill>
              </a:defRPr>
            </a:lvl2pPr>
            <a:lvl3pPr marL="0" indent="0">
              <a:defRPr sz="700">
                <a:solidFill>
                  <a:schemeClr val="accent1"/>
                </a:solidFill>
              </a:defRPr>
            </a:lvl3pPr>
            <a:lvl4pPr marL="0" indent="0">
              <a:defRPr sz="700">
                <a:solidFill>
                  <a:schemeClr val="accent1"/>
                </a:solidFill>
              </a:defRPr>
            </a:lvl4pPr>
            <a:lvl5pPr marL="0" indent="0">
              <a:defRPr sz="700">
                <a:solidFill>
                  <a:schemeClr val="accent1"/>
                </a:solidFill>
              </a:defRPr>
            </a:lvl5pPr>
            <a:lvl6pPr marL="0" indent="0">
              <a:tabLst/>
              <a:defRPr sz="700">
                <a:solidFill>
                  <a:schemeClr val="accent1"/>
                </a:solidFill>
              </a:defRPr>
            </a:lvl6pPr>
            <a:lvl7pPr marL="0" indent="0">
              <a:tabLst/>
              <a:defRPr sz="700">
                <a:solidFill>
                  <a:schemeClr val="accent1"/>
                </a:solidFill>
              </a:defRPr>
            </a:lvl7pPr>
            <a:lvl8pPr marL="0" indent="0">
              <a:defRPr sz="700">
                <a:solidFill>
                  <a:schemeClr val="accent1"/>
                </a:solidFill>
              </a:defRPr>
            </a:lvl8pPr>
            <a:lvl9pPr marL="0" indent="0">
              <a:defRPr sz="700">
                <a:solidFill>
                  <a:schemeClr val="accent1"/>
                </a:solidFill>
              </a:defRPr>
            </a:lvl9pPr>
          </a:lstStyle>
          <a:p>
            <a:r>
              <a:rPr lang="en-US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95843" y="6617933"/>
            <a:ext cx="392326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empower - DO NOT DELETE!!!" hidden="1"/>
          <p:cNvSpPr/>
          <p:nvPr userDrawn="1">
            <p:custDataLst>
              <p:tags r:id="rId20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9" name="MSIPCMContentMarking" descr="{&quot;HashCode&quot;:-242339457,&quot;Placement&quot;:&quot;Footer&quot;,&quot;Top&quot;:503.1945,&quot;Left&quot;:812.3856,&quot;SlideWidth&quot;:959,&quot;SlideHeight&quot;:540}">
            <a:extLst>
              <a:ext uri="{FF2B5EF4-FFF2-40B4-BE49-F238E27FC236}">
                <a16:creationId xmlns:a16="http://schemas.microsoft.com/office/drawing/2014/main" id="{A7D91CB3-82EB-41F1-A8B5-CF04B7EF4DF5}"/>
              </a:ext>
            </a:extLst>
          </p:cNvPr>
          <p:cNvSpPr txBox="1"/>
          <p:nvPr userDrawn="1"/>
        </p:nvSpPr>
        <p:spPr bwMode="gray">
          <a:xfrm>
            <a:off x="10317297" y="6390570"/>
            <a:ext cx="1873115" cy="46742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200" b="0" i="0" u="none" baseline="0">
                <a:solidFill>
                  <a:srgbClr val="FF8939"/>
                </a:solidFill>
                <a:latin typeface="Calibri" panose="020F0502020204030204" pitchFamily="34" charset="0"/>
              </a:rPr>
              <a:t>RESTRICTED</a:t>
            </a:r>
            <a:endParaRPr lang="en-US" sz="2200" b="0" i="0" u="none" baseline="0" dirty="0">
              <a:solidFill>
                <a:srgbClr val="FF8939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7580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9" r:id="rId1"/>
    <p:sldLayoutId id="2147484380" r:id="rId2"/>
    <p:sldLayoutId id="2147484381" r:id="rId3"/>
    <p:sldLayoutId id="2147484382" r:id="rId4"/>
    <p:sldLayoutId id="2147484383" r:id="rId5"/>
    <p:sldLayoutId id="2147484384" r:id="rId6"/>
    <p:sldLayoutId id="2147484385" r:id="rId7"/>
    <p:sldLayoutId id="2147484386" r:id="rId8"/>
    <p:sldLayoutId id="2147484387" r:id="rId9"/>
    <p:sldLayoutId id="2147484388" r:id="rId10"/>
    <p:sldLayoutId id="2147484389" r:id="rId11"/>
    <p:sldLayoutId id="2147484390" r:id="rId12"/>
    <p:sldLayoutId id="2147484391" r:id="rId13"/>
    <p:sldLayoutId id="2147484392" r:id="rId14"/>
    <p:sldLayoutId id="2147484393" r:id="rId15"/>
    <p:sldLayoutId id="2147484394" r:id="rId16"/>
    <p:sldLayoutId id="2147484395" r:id="rId17"/>
    <p:sldLayoutId id="2147484396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1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2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4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4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4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4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4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9.jp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10" Type="http://schemas.openxmlformats.org/officeDocument/2006/relationships/hyperlink" Target="https://vickcul.github.io/#/#/" TargetMode="External"/><Relationship Id="rId4" Type="http://schemas.openxmlformats.org/officeDocument/2006/relationships/diagramData" Target="../diagrams/data1.xml"/><Relationship Id="rId9" Type="http://schemas.openxmlformats.org/officeDocument/2006/relationships/hyperlink" Target="mailto:Vicky.zhu@bayer.com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2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7" Type="http://schemas.openxmlformats.org/officeDocument/2006/relationships/image" Target="../media/image43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50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7" Type="http://schemas.openxmlformats.org/officeDocument/2006/relationships/image" Target="../media/image56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1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3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11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7" Type="http://schemas.openxmlformats.org/officeDocument/2006/relationships/image" Target="../media/image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9B80F72-E730-4617-9464-B73315A1590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46" r="-1" b="19396"/>
          <a:stretch/>
        </p:blipFill>
        <p:spPr>
          <a:xfrm>
            <a:off x="7600871" y="1238543"/>
            <a:ext cx="3216914" cy="2379142"/>
          </a:xfrm>
          <a:prstGeom prst="rect">
            <a:avLst/>
          </a:prstGeom>
        </p:spPr>
      </p:pic>
      <p:graphicFrame>
        <p:nvGraphicFramePr>
          <p:cNvPr id="24" name="TextBox 3">
            <a:extLst>
              <a:ext uri="{FF2B5EF4-FFF2-40B4-BE49-F238E27FC236}">
                <a16:creationId xmlns:a16="http://schemas.microsoft.com/office/drawing/2014/main" id="{E3026739-983C-4270-810D-137838CC43A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14840876"/>
              </p:ext>
            </p:extLst>
          </p:nvPr>
        </p:nvGraphicFramePr>
        <p:xfrm>
          <a:off x="736504" y="851851"/>
          <a:ext cx="5169541" cy="515429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452A6716-56AF-472C-92FC-64B9239F51E9}"/>
              </a:ext>
            </a:extLst>
          </p:cNvPr>
          <p:cNvSpPr/>
          <p:nvPr/>
        </p:nvSpPr>
        <p:spPr bwMode="gray">
          <a:xfrm>
            <a:off x="7488820" y="4420418"/>
            <a:ext cx="4312615" cy="1285901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0A7E249D-7997-4852-8324-563800F45B29}"/>
              </a:ext>
            </a:extLst>
          </p:cNvPr>
          <p:cNvSpPr/>
          <p:nvPr/>
        </p:nvSpPr>
        <p:spPr bwMode="gray">
          <a:xfrm>
            <a:off x="7600871" y="4085863"/>
            <a:ext cx="3530278" cy="601883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FFFFFF"/>
                </a:solidFill>
                <a:latin typeface="Arial" panose="020B0604020202020204" pitchFamily="34" charset="0"/>
              </a:rPr>
              <a:t>Email: </a:t>
            </a:r>
            <a:endParaRPr lang="en-US" sz="18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BBFD655-F68B-4C81-ADB8-09651C078557}"/>
              </a:ext>
            </a:extLst>
          </p:cNvPr>
          <p:cNvSpPr txBox="1"/>
          <p:nvPr/>
        </p:nvSpPr>
        <p:spPr bwMode="gray">
          <a:xfrm>
            <a:off x="7600871" y="4838218"/>
            <a:ext cx="3965089" cy="105218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285750" indent="-285750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  <a:hlinkClick r:id="rId9"/>
              </a:rPr>
              <a:t>Vicky.zhu@bayer.com</a:t>
            </a:r>
            <a:endParaRPr lang="en-US" sz="2000" b="0" i="0" u="none" baseline="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  <a:hlinkClick r:id="rId10"/>
              </a:rPr>
              <a:t>Vicky Zhu (vickcul.github.io)</a:t>
            </a:r>
            <a:endParaRPr lang="en-US" sz="2000" b="0" i="0" u="none" baseline="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14555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E2B19966-7D66-452E-9522-EF81D618E1C9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/>
              <a:t>PLS + Dynamical Method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192B6FF-F70F-40FE-A0BA-8CE0583DBB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y work focus on dynamical PLS approach: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A6E3099-8B64-41FA-9208-C2C4DC3A56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September 201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E8B2218-2A3F-4C92-83CF-DC9DBB6136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10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9D52B2B-BED2-4A42-AF04-02244BF9200E}"/>
              </a:ext>
            </a:extLst>
          </p:cNvPr>
          <p:cNvSpPr txBox="1"/>
          <p:nvPr/>
        </p:nvSpPr>
        <p:spPr bwMode="gray">
          <a:xfrm>
            <a:off x="471260" y="1735520"/>
            <a:ext cx="11247891" cy="239925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1</a:t>
            </a: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. It is a direct extension of already well established PLS, so intuitive to understand.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2</a:t>
            </a: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. Dynamical PLS can completely recover PLS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, easier to modify.</a:t>
            </a:r>
            <a:endParaRPr lang="en-US" sz="1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3. </a:t>
            </a: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Dynamical PLS algorithm has a broader impact in compared to other approach.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    (i.e. some batch statistical process does not focus on prediction, the goal is to determine good/bad batches)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4</a:t>
            </a: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. This 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supervised machine learning algorithm has relatively easier interpretation base on the data input type. </a:t>
            </a: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8407D66F-3B12-44EA-B29D-9FE39A0A59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6692" y="4105330"/>
            <a:ext cx="3524250" cy="2362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E0B7A803-B65C-462E-A532-DCF249E9A0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264" y="4134774"/>
            <a:ext cx="3524250" cy="2362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59F598A-C3C7-4B11-8B0A-FA207DF73E36}"/>
              </a:ext>
            </a:extLst>
          </p:cNvPr>
          <p:cNvSpPr txBox="1"/>
          <p:nvPr/>
        </p:nvSpPr>
        <p:spPr bwMode="gray">
          <a:xfrm>
            <a:off x="469264" y="5143415"/>
            <a:ext cx="237810" cy="45720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09DFF70-FB3C-4751-A902-8FEB49157E2C}"/>
              </a:ext>
            </a:extLst>
          </p:cNvPr>
          <p:cNvSpPr txBox="1"/>
          <p:nvPr/>
        </p:nvSpPr>
        <p:spPr bwMode="gray">
          <a:xfrm>
            <a:off x="7607787" y="5194874"/>
            <a:ext cx="237810" cy="45720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8E36866-7709-45A1-9510-1682C3321289}"/>
              </a:ext>
            </a:extLst>
          </p:cNvPr>
          <p:cNvSpPr/>
          <p:nvPr/>
        </p:nvSpPr>
        <p:spPr bwMode="gray">
          <a:xfrm>
            <a:off x="4475914" y="4210543"/>
            <a:ext cx="2798618" cy="93287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Which one is </a:t>
            </a:r>
            <a:r>
              <a:rPr lang="en-US" dirty="0">
                <a:solidFill>
                  <a:srgbClr val="FF0000"/>
                </a:solidFill>
                <a:latin typeface="Arial" panose="020B0604020202020204" pitchFamily="34" charset="0"/>
                <a:cs typeface="Arial"/>
              </a:rPr>
              <a:t>generated from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dynamical process?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E2928E5-5686-4720-A7BA-196CA16FBB45}"/>
              </a:ext>
            </a:extLst>
          </p:cNvPr>
          <p:cNvSpPr txBox="1"/>
          <p:nvPr/>
        </p:nvSpPr>
        <p:spPr bwMode="gray">
          <a:xfrm>
            <a:off x="1982710" y="6379852"/>
            <a:ext cx="825190" cy="29208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t</a:t>
            </a: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rial #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9079E5E-E494-4490-B1EA-D3272A2E1B13}"/>
              </a:ext>
            </a:extLst>
          </p:cNvPr>
          <p:cNvSpPr txBox="1"/>
          <p:nvPr/>
        </p:nvSpPr>
        <p:spPr bwMode="gray">
          <a:xfrm>
            <a:off x="9488817" y="6427415"/>
            <a:ext cx="825190" cy="29208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t</a:t>
            </a: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rial #</a:t>
            </a:r>
          </a:p>
        </p:txBody>
      </p:sp>
    </p:spTree>
    <p:extLst>
      <p:ext uri="{BB962C8B-B14F-4D97-AF65-F5344CB8AC3E}">
        <p14:creationId xmlns:p14="http://schemas.microsoft.com/office/powerpoint/2010/main" val="51969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EBBED5-9EAB-4E13-B489-E4E88F1959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4344" y="1462158"/>
            <a:ext cx="6586716" cy="1440753"/>
          </a:xfrm>
        </p:spPr>
        <p:txBody>
          <a:bodyPr/>
          <a:lstStyle/>
          <a:p>
            <a:r>
              <a:rPr lang="en-US" dirty="0"/>
              <a:t>Literature on </a:t>
            </a:r>
            <a:br>
              <a:rPr lang="en-US" dirty="0"/>
            </a:br>
            <a:r>
              <a:rPr lang="en-US" dirty="0"/>
              <a:t>Dynamical PLS</a:t>
            </a:r>
            <a:endParaRPr lang="en-US" dirty="0">
              <a:ea typeface="+mj-lt"/>
              <a:cs typeface="+mj-lt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1A9EAD-9F22-4ED7-9D62-612E50B0B7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0974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E118535B-28AB-44DD-9AA1-E83F9B5DA567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981820" y="1031755"/>
            <a:ext cx="10798461" cy="252000"/>
          </a:xfrm>
        </p:spPr>
        <p:txBody>
          <a:bodyPr/>
          <a:lstStyle/>
          <a:p>
            <a:r>
              <a:rPr lang="en-US" dirty="0"/>
              <a:t>Qin and McAvoy paper, 1995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54CCF0A-5607-4C00-B923-57C7100FE3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298" y="167755"/>
            <a:ext cx="11317504" cy="864000"/>
          </a:xfrm>
        </p:spPr>
        <p:txBody>
          <a:bodyPr/>
          <a:lstStyle/>
          <a:p>
            <a:r>
              <a:rPr lang="en-US" dirty="0"/>
              <a:t>Nonlinear finite impulse response (NFIR) modeling via neural net PL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525D66-9119-4D30-8296-B11906F211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10384F"/>
                </a:solidFill>
                <a:effectLst/>
                <a:uLnTx/>
                <a:uFillTx/>
                <a:latin typeface="Arial"/>
                <a:cs typeface="Arial"/>
              </a:rPr>
              <a:t>/// Bayer 16:9 Template /// September 201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7E0A1E-D8DA-4F08-BB77-1434E516BA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AD9179-7A6B-4268-BEB2-F3B8EB06115B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Arial"/>
                <a:cs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DC10678-5BD4-4D3D-8D10-88FF4C4C86A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84657" y="1452626"/>
            <a:ext cx="11317504" cy="4751999"/>
          </a:xfrm>
        </p:spPr>
        <p:txBody>
          <a:bodyPr/>
          <a:lstStyle/>
          <a:p>
            <a:r>
              <a:rPr lang="en-US" dirty="0">
                <a:solidFill>
                  <a:srgbClr val="FF0000"/>
                </a:solidFill>
              </a:rPr>
              <a:t>Task: </a:t>
            </a:r>
            <a:r>
              <a:rPr lang="en-US" dirty="0">
                <a:solidFill>
                  <a:schemeClr val="tx1"/>
                </a:solidFill>
              </a:rPr>
              <a:t>handle nonlinear process with input collinearity data</a:t>
            </a:r>
          </a:p>
          <a:p>
            <a:r>
              <a:rPr lang="en-US" dirty="0">
                <a:solidFill>
                  <a:srgbClr val="FF0000"/>
                </a:solidFill>
              </a:rPr>
              <a:t>Method:</a:t>
            </a:r>
            <a:r>
              <a:rPr lang="en-US" dirty="0"/>
              <a:t> integration of Neural networks with PLS to tackle </a:t>
            </a:r>
            <a:endParaRPr lang="en-US" u="sng" dirty="0">
              <a:solidFill>
                <a:srgbClr val="FF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Outer Modeling</a:t>
            </a:r>
            <a:r>
              <a:rPr lang="en-US" dirty="0"/>
              <a:t>: same as PLS projection to calculate the latent variabl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Inner Modeling</a:t>
            </a:r>
            <a:r>
              <a:rPr lang="en-US" dirty="0"/>
              <a:t>: using neural networks.</a:t>
            </a:r>
          </a:p>
        </p:txBody>
      </p:sp>
      <p:pic>
        <p:nvPicPr>
          <p:cNvPr id="8" name="Picture 7" descr="Diagram, engineering drawing&#10;&#10;Description automatically generated">
            <a:extLst>
              <a:ext uri="{FF2B5EF4-FFF2-40B4-BE49-F238E27FC236}">
                <a16:creationId xmlns:a16="http://schemas.microsoft.com/office/drawing/2014/main" id="{83712C53-50BC-4044-B98C-3D4C3EDFAD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9048" y="3429000"/>
            <a:ext cx="5854361" cy="2674952"/>
          </a:xfrm>
          <a:prstGeom prst="rect">
            <a:avLst/>
          </a:prstGeom>
        </p:spPr>
      </p:pic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5D1FEC19-1561-48F6-82AB-F357347318C2}"/>
              </a:ext>
            </a:extLst>
          </p:cNvPr>
          <p:cNvSpPr txBox="1">
            <a:spLocks/>
          </p:cNvSpPr>
          <p:nvPr/>
        </p:nvSpPr>
        <p:spPr bwMode="gray">
          <a:xfrm>
            <a:off x="6564109" y="3429000"/>
            <a:ext cx="5338052" cy="31596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3"/>
              </a:buBlip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highlight>
                  <a:srgbClr val="FFFF00"/>
                </a:highlight>
              </a:rPr>
              <a:t>Advantage</a:t>
            </a:r>
            <a:r>
              <a:rPr lang="en-US" dirty="0"/>
              <a:t>: straightforward method such that inner model can </a:t>
            </a:r>
            <a:r>
              <a:rPr lang="en-US" u="sng" dirty="0"/>
              <a:t>capture nonlinear relationship</a:t>
            </a:r>
            <a:r>
              <a:rPr lang="en-US" dirty="0"/>
              <a:t>.</a:t>
            </a:r>
          </a:p>
          <a:p>
            <a:r>
              <a:rPr lang="en-US" dirty="0">
                <a:highlight>
                  <a:srgbClr val="FFFF00"/>
                </a:highlight>
              </a:rPr>
              <a:t>Disadvantage</a:t>
            </a:r>
            <a:r>
              <a:rPr lang="en-US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es not give explicit representation of the dynamic relationship, so it is </a:t>
            </a:r>
            <a:r>
              <a:rPr lang="en-US" u="sng" dirty="0"/>
              <a:t>difficult to interpre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u="sng" dirty="0"/>
              <a:t>Computation expensive </a:t>
            </a:r>
            <a:r>
              <a:rPr lang="en-US" dirty="0"/>
              <a:t>when more components are extracted.</a:t>
            </a:r>
          </a:p>
        </p:txBody>
      </p:sp>
    </p:spTree>
    <p:extLst>
      <p:ext uri="{BB962C8B-B14F-4D97-AF65-F5344CB8AC3E}">
        <p14:creationId xmlns:p14="http://schemas.microsoft.com/office/powerpoint/2010/main" val="4106197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FBF18E3B-17F2-4BE8-B78D-EE596179B1C7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 err="1"/>
              <a:t>Kaspar</a:t>
            </a:r>
            <a:r>
              <a:rPr lang="en-US" dirty="0"/>
              <a:t> and Ray, 1993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01AD2D4-65BE-408E-8EEE-6AA8E90F12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ynamic PLS for process contro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50568C-FE50-4374-BAD6-7FD7A01EF7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September 201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F4AB286-0310-4616-8A1F-FD66F65B9F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13</a:t>
            </a:fld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799E3D6-E306-4CC7-9BE6-4F21A4696CD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25056" y="1521573"/>
            <a:ext cx="11455225" cy="4751999"/>
          </a:xfrm>
        </p:spPr>
        <p:txBody>
          <a:bodyPr/>
          <a:lstStyle/>
          <a:p>
            <a:r>
              <a:rPr lang="en-US" dirty="0">
                <a:solidFill>
                  <a:schemeClr val="accent6"/>
                </a:solidFill>
              </a:rPr>
              <a:t>Task</a:t>
            </a:r>
            <a:r>
              <a:rPr lang="en-US" dirty="0"/>
              <a:t>: dynamic model for control system design as opposed to linear algebraic structure between latent variables.</a:t>
            </a:r>
          </a:p>
          <a:p>
            <a:r>
              <a:rPr lang="en-US" dirty="0">
                <a:solidFill>
                  <a:schemeClr val="accent6"/>
                </a:solidFill>
              </a:rPr>
              <a:t>Method</a:t>
            </a:r>
            <a:r>
              <a:rPr lang="en-US" dirty="0"/>
              <a:t>: find a </a:t>
            </a:r>
            <a:r>
              <a:rPr lang="en-US" u="sng" dirty="0"/>
              <a:t>dynamic transformation of the x </a:t>
            </a:r>
            <a:r>
              <a:rPr lang="en-US" dirty="0"/>
              <a:t>time series input, then apply an algebraic relationship with 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Outer Modeling</a:t>
            </a:r>
            <a:r>
              <a:rPr lang="en-US" dirty="0"/>
              <a:t>: same as PLS projec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Inner Modeling</a:t>
            </a:r>
            <a:r>
              <a:rPr lang="en-US" dirty="0"/>
              <a:t>: applied transformation filter. </a:t>
            </a:r>
          </a:p>
          <a:p>
            <a:r>
              <a:rPr lang="en-US" dirty="0"/>
              <a:t>		(</a:t>
            </a:r>
            <a:r>
              <a:rPr lang="en-US" i="1" dirty="0"/>
              <a:t>i.e</a:t>
            </a:r>
            <a:r>
              <a:rPr lang="en-US" dirty="0"/>
              <a:t>., “average” of the dynamic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8" name="Picture 7" descr="Diagram&#10;&#10;Description automatically generated">
            <a:extLst>
              <a:ext uri="{FF2B5EF4-FFF2-40B4-BE49-F238E27FC236}">
                <a16:creationId xmlns:a16="http://schemas.microsoft.com/office/drawing/2014/main" id="{FA97F002-248F-47AD-876A-4C1B23724D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8202" y="4010718"/>
            <a:ext cx="5360630" cy="2607215"/>
          </a:xfrm>
          <a:prstGeom prst="rect">
            <a:avLst/>
          </a:prstGeom>
        </p:spPr>
      </p:pic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F72D7B08-F755-49BF-8189-8EAA03BBCDC6}"/>
              </a:ext>
            </a:extLst>
          </p:cNvPr>
          <p:cNvSpPr txBox="1">
            <a:spLocks/>
          </p:cNvSpPr>
          <p:nvPr/>
        </p:nvSpPr>
        <p:spPr>
          <a:xfrm>
            <a:off x="6210735" y="2724471"/>
            <a:ext cx="6161449" cy="458140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3"/>
              </a:buBlip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highlight>
                  <a:srgbClr val="FFFF00"/>
                </a:highlight>
              </a:rPr>
              <a:t>Advantage</a:t>
            </a:r>
            <a:r>
              <a:rPr lang="en-US" dirty="0"/>
              <a:t>: compact representation since </a:t>
            </a:r>
            <a:r>
              <a:rPr lang="en-US" u="sng" dirty="0"/>
              <a:t>no lagged variables </a:t>
            </a:r>
            <a:r>
              <a:rPr lang="en-US" dirty="0"/>
              <a:t>appear in the outer relations after filtering.</a:t>
            </a:r>
          </a:p>
          <a:p>
            <a:endParaRPr lang="en-US" dirty="0"/>
          </a:p>
          <a:p>
            <a:r>
              <a:rPr lang="en-US" dirty="0">
                <a:highlight>
                  <a:srgbClr val="FFFF00"/>
                </a:highlight>
              </a:rPr>
              <a:t>Disadvantage</a:t>
            </a:r>
            <a:r>
              <a:rPr lang="en-US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eed </a:t>
            </a:r>
            <a:r>
              <a:rPr lang="en-US" u="sng" dirty="0"/>
              <a:t>prior knowledge to design the filter</a:t>
            </a:r>
            <a:r>
              <a:rPr lang="en-US" dirty="0"/>
              <a:t>, so the dynamic components in the inputs can be remove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u="sng" dirty="0"/>
              <a:t>Inconsistent </a:t>
            </a:r>
            <a:r>
              <a:rPr lang="en-US" dirty="0"/>
              <a:t>between the outer model and inner morel. (Inner model has dynamics, but not the outer model)</a:t>
            </a:r>
          </a:p>
        </p:txBody>
      </p:sp>
    </p:spTree>
    <p:extLst>
      <p:ext uri="{BB962C8B-B14F-4D97-AF65-F5344CB8AC3E}">
        <p14:creationId xmlns:p14="http://schemas.microsoft.com/office/powerpoint/2010/main" val="3021262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8A61993C-7DC2-45A5-A3CC-BA6D0911B8EF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 err="1"/>
              <a:t>Lakshminaryaana</a:t>
            </a:r>
            <a:r>
              <a:rPr lang="en-US" dirty="0"/>
              <a:t>, </a:t>
            </a:r>
            <a:r>
              <a:rPr lang="en-US" dirty="0" err="1"/>
              <a:t>etc</a:t>
            </a:r>
            <a:r>
              <a:rPr lang="en-US" dirty="0"/>
              <a:t> (1997) </a:t>
            </a: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9B5ACA4-E2F2-43B9-B9B3-66D103F46C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ing &amp; Control of MVA processes Dynamic PLS approach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3E4B8C-E7D2-4751-818D-8CC2A00819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10384F"/>
                </a:solidFill>
                <a:effectLst/>
                <a:uLnTx/>
                <a:uFillTx/>
                <a:latin typeface="Arial"/>
                <a:cs typeface="Arial"/>
              </a:rPr>
              <a:t>/// Bayer 16:9 Template /// September 201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A4CBEB-1935-4D70-A295-0C38EF0FF4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AD9179-7A6B-4268-BEB2-F3B8EB06115B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Arial"/>
                <a:cs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FB0C969-204A-419A-A986-9F98B7A32688}"/>
              </a:ext>
            </a:extLst>
          </p:cNvPr>
          <p:cNvSpPr txBox="1"/>
          <p:nvPr/>
        </p:nvSpPr>
        <p:spPr bwMode="gray">
          <a:xfrm>
            <a:off x="323272" y="3750630"/>
            <a:ext cx="11278972" cy="275890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Arial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Arial"/>
                <a:cs typeface="Arial"/>
              </a:rPr>
              <a:t>Advantag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Direct modification of the PLS inner relationship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>
                <a:solidFill>
                  <a:srgbClr val="000000"/>
                </a:solidFill>
                <a:latin typeface="Arial"/>
                <a:cs typeface="Arial"/>
              </a:rPr>
              <a:t>Break into many </a:t>
            </a: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univariate </a:t>
            </a:r>
            <a:r>
              <a:rPr kumimoji="0" lang="en-US" sz="180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Hammerstein models</a:t>
            </a: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to obtain an overall model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Arial"/>
                <a:cs typeface="Arial"/>
              </a:rPr>
              <a:t>Disadvantag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all the input information is used in model building, so </a:t>
            </a: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does not </a:t>
            </a:r>
            <a:r>
              <a:rPr kumimoji="0" lang="en-US" sz="180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reduce the dimensionality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of the redundancy 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Hammerstein structure </a:t>
            </a: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cannot model every type of nonlineari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F31091D-CC40-48F2-9B53-FAA3340D4205}"/>
              </a:ext>
            </a:extLst>
          </p:cNvPr>
          <p:cNvSpPr txBox="1"/>
          <p:nvPr/>
        </p:nvSpPr>
        <p:spPr bwMode="gray">
          <a:xfrm>
            <a:off x="447584" y="1570821"/>
            <a:ext cx="7283252" cy="2342419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accent6"/>
                </a:solidFill>
              </a:rPr>
              <a:t>Task</a:t>
            </a:r>
            <a:r>
              <a:rPr lang="en-US" dirty="0"/>
              <a:t>: nonlinear data as modeling of multi-input, multi-output proces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chemeClr val="accent6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accent6"/>
                </a:solidFill>
              </a:rPr>
              <a:t>Method</a:t>
            </a:r>
            <a:r>
              <a:rPr lang="en-US" dirty="0"/>
              <a:t>: employ single-input, single-output Hammerstein structure.</a:t>
            </a:r>
            <a:endParaRPr lang="en-US" b="1" dirty="0"/>
          </a:p>
        </p:txBody>
      </p:sp>
      <p:pic>
        <p:nvPicPr>
          <p:cNvPr id="14" name="Content Placeholder 13" descr="Diagram&#10;&#10;Description automatically generated">
            <a:extLst>
              <a:ext uri="{FF2B5EF4-FFF2-40B4-BE49-F238E27FC236}">
                <a16:creationId xmlns:a16="http://schemas.microsoft.com/office/drawing/2014/main" id="{66AE4916-1976-45A9-8CC7-0746569C990E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7768288" y="2326777"/>
            <a:ext cx="3961124" cy="1243331"/>
          </a:xfr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798EF49D-CA56-44AC-8168-EEBEBAC0130D}"/>
              </a:ext>
            </a:extLst>
          </p:cNvPr>
          <p:cNvSpPr txBox="1"/>
          <p:nvPr/>
        </p:nvSpPr>
        <p:spPr bwMode="gray">
          <a:xfrm>
            <a:off x="7768288" y="3788903"/>
            <a:ext cx="4011993" cy="65170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i="1" dirty="0"/>
              <a:t>i.e. </a:t>
            </a:r>
            <a:r>
              <a:rPr lang="en-US" dirty="0"/>
              <a:t>A polynomial with some order to t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      ARX model is between t* and u</a:t>
            </a:r>
            <a:endParaRPr lang="en-US" sz="1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19" name="Picture 18" descr="A picture containing diagram&#10;&#10;Description automatically generated">
            <a:extLst>
              <a:ext uri="{FF2B5EF4-FFF2-40B4-BE49-F238E27FC236}">
                <a16:creationId xmlns:a16="http://schemas.microsoft.com/office/drawing/2014/main" id="{6C144C54-DBC1-448B-9E5A-A5D39FF1DB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54787" y="2752527"/>
            <a:ext cx="4518716" cy="773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9455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7">
            <a:extLst>
              <a:ext uri="{FF2B5EF4-FFF2-40B4-BE49-F238E27FC236}">
                <a16:creationId xmlns:a16="http://schemas.microsoft.com/office/drawing/2014/main" id="{F9EF98D3-6433-434A-B0D7-84E09DDB5665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/>
              <a:t>Literature Review of 3 papers on dynamical PLS, leads to the current Algorithm on </a:t>
            </a:r>
            <a:r>
              <a:rPr lang="en-US" dirty="0" err="1"/>
              <a:t>DiPLS</a:t>
            </a:r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A37CD0A-9684-49C8-9F6F-D4E3C96B1B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verview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0DAA03A-31E6-43B9-AFB8-86E05EA3F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AD9179-7A6B-4268-BEB2-F3B8EB06115B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Arial"/>
                <a:cs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D13FD42-D89E-400D-B134-ADCBFF33A76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270000" lvl="2" indent="0">
              <a:buNone/>
            </a:pPr>
            <a:endParaRPr lang="en-US" dirty="0">
              <a:solidFill>
                <a:schemeClr val="tx1"/>
              </a:solidFill>
            </a:endParaRPr>
          </a:p>
          <a:p>
            <a:pPr lvl="2"/>
            <a:endParaRPr lang="en-US" b="1" dirty="0">
              <a:solidFill>
                <a:schemeClr val="accent2"/>
              </a:solidFill>
            </a:endParaRPr>
          </a:p>
          <a:p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43FE916-6D87-4B3A-8DFF-272D2ECE4D3F}"/>
              </a:ext>
            </a:extLst>
          </p:cNvPr>
          <p:cNvSpPr/>
          <p:nvPr/>
        </p:nvSpPr>
        <p:spPr bwMode="gray">
          <a:xfrm>
            <a:off x="1012844" y="1739828"/>
            <a:ext cx="2798618" cy="93287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E4F7AFA-1C18-46C9-A2B6-218CC4204412}"/>
              </a:ext>
            </a:extLst>
          </p:cNvPr>
          <p:cNvSpPr txBox="1"/>
          <p:nvPr/>
        </p:nvSpPr>
        <p:spPr bwMode="gray">
          <a:xfrm>
            <a:off x="1310104" y="1854668"/>
            <a:ext cx="2204097" cy="618836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Neural Net PLS in various modeling (Qin &amp; McAvoy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1428E54-0C62-4784-87C4-288EE5B79361}"/>
              </a:ext>
            </a:extLst>
          </p:cNvPr>
          <p:cNvSpPr/>
          <p:nvPr/>
        </p:nvSpPr>
        <p:spPr bwMode="gray">
          <a:xfrm>
            <a:off x="1020618" y="3228011"/>
            <a:ext cx="2798618" cy="93287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0E82770-CBAA-4A25-A159-9CF0C65577F4}"/>
              </a:ext>
            </a:extLst>
          </p:cNvPr>
          <p:cNvSpPr txBox="1"/>
          <p:nvPr/>
        </p:nvSpPr>
        <p:spPr bwMode="gray">
          <a:xfrm>
            <a:off x="1184914" y="3201726"/>
            <a:ext cx="2454476" cy="87697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Transformation dynamical PL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(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Kaspar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 &amp; Ray)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CD72396-5A1D-4663-853D-CC88A0587AFE}"/>
              </a:ext>
            </a:extLst>
          </p:cNvPr>
          <p:cNvSpPr/>
          <p:nvPr/>
        </p:nvSpPr>
        <p:spPr bwMode="gray">
          <a:xfrm>
            <a:off x="961483" y="4728298"/>
            <a:ext cx="2798618" cy="93287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D51FC2D-67E9-4722-93C4-36A584DEEBC6}"/>
              </a:ext>
            </a:extLst>
          </p:cNvPr>
          <p:cNvSpPr txBox="1"/>
          <p:nvPr/>
        </p:nvSpPr>
        <p:spPr bwMode="gray">
          <a:xfrm>
            <a:off x="1081385" y="4754735"/>
            <a:ext cx="2596410" cy="871385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Hemmerstei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 Model of dynamical PL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(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Lakshminarayana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, etc.)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36E2424-29DF-4C09-8006-819F03F0CD74}"/>
              </a:ext>
            </a:extLst>
          </p:cNvPr>
          <p:cNvSpPr/>
          <p:nvPr/>
        </p:nvSpPr>
        <p:spPr bwMode="gray">
          <a:xfrm>
            <a:off x="6700363" y="5905448"/>
            <a:ext cx="2798618" cy="93287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CA3EE0D-1B54-444A-9AAE-FDB4E9F18723}"/>
              </a:ext>
            </a:extLst>
          </p:cNvPr>
          <p:cNvSpPr txBox="1"/>
          <p:nvPr/>
        </p:nvSpPr>
        <p:spPr bwMode="gray">
          <a:xfrm>
            <a:off x="6981459" y="6062466"/>
            <a:ext cx="2236426" cy="618836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Dynamical-Inner PL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(Dong &amp; Qin)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7241A0B0-16B6-4A85-AA7B-DC306FCC2405}"/>
              </a:ext>
            </a:extLst>
          </p:cNvPr>
          <p:cNvCxnSpPr>
            <a:cxnSpLocks/>
          </p:cNvCxnSpPr>
          <p:nvPr/>
        </p:nvCxnSpPr>
        <p:spPr bwMode="gray">
          <a:xfrm>
            <a:off x="4091709" y="2139150"/>
            <a:ext cx="2253673" cy="0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6560D27B-339E-413E-9BEE-B700A38B8541}"/>
              </a:ext>
            </a:extLst>
          </p:cNvPr>
          <p:cNvSpPr txBox="1"/>
          <p:nvPr/>
        </p:nvSpPr>
        <p:spPr bwMode="gray">
          <a:xfrm>
            <a:off x="6658190" y="1833312"/>
            <a:ext cx="4027054" cy="736132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Straightforward, but difficult to interpret and computationally expensive. 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21DFEA2B-4A25-409D-A047-02B19843050D}"/>
              </a:ext>
            </a:extLst>
          </p:cNvPr>
          <p:cNvCxnSpPr>
            <a:cxnSpLocks/>
          </p:cNvCxnSpPr>
          <p:nvPr/>
        </p:nvCxnSpPr>
        <p:spPr bwMode="gray">
          <a:xfrm>
            <a:off x="4091708" y="3621590"/>
            <a:ext cx="2253673" cy="0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120C14A1-ED6C-469E-8EFC-28A37E2D94A3}"/>
              </a:ext>
            </a:extLst>
          </p:cNvPr>
          <p:cNvCxnSpPr>
            <a:cxnSpLocks/>
          </p:cNvCxnSpPr>
          <p:nvPr/>
        </p:nvCxnSpPr>
        <p:spPr bwMode="gray">
          <a:xfrm>
            <a:off x="4091707" y="5190427"/>
            <a:ext cx="2253673" cy="0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FFFCB564-B01F-4EA2-86A2-B9A13809871F}"/>
              </a:ext>
            </a:extLst>
          </p:cNvPr>
          <p:cNvSpPr txBox="1"/>
          <p:nvPr/>
        </p:nvSpPr>
        <p:spPr bwMode="gray">
          <a:xfrm>
            <a:off x="6658190" y="3390329"/>
            <a:ext cx="4428727" cy="736132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No lag variable involved in outer modeling, but raised an inconsistent issu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DD1137E-4E0F-4BA7-8297-5C99D29A3802}"/>
              </a:ext>
            </a:extLst>
          </p:cNvPr>
          <p:cNvSpPr txBox="1"/>
          <p:nvPr/>
        </p:nvSpPr>
        <p:spPr bwMode="gray">
          <a:xfrm>
            <a:off x="6655703" y="4787042"/>
            <a:ext cx="4573227" cy="736132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Direct modification through inner modeling but does not reduce the original dimensions.</a:t>
            </a:r>
          </a:p>
        </p:txBody>
      </p:sp>
      <p:sp>
        <p:nvSpPr>
          <p:cNvPr id="4" name="Arrow: Right 3">
            <a:extLst>
              <a:ext uri="{FF2B5EF4-FFF2-40B4-BE49-F238E27FC236}">
                <a16:creationId xmlns:a16="http://schemas.microsoft.com/office/drawing/2014/main" id="{0B0CC993-B960-4D8E-9A79-E999AD0D3262}"/>
              </a:ext>
            </a:extLst>
          </p:cNvPr>
          <p:cNvSpPr/>
          <p:nvPr/>
        </p:nvSpPr>
        <p:spPr bwMode="gray">
          <a:xfrm>
            <a:off x="5218543" y="6197681"/>
            <a:ext cx="1200724" cy="386718"/>
          </a:xfrm>
          <a:prstGeom prst="rightArrow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rgbClr val="D30F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9843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0856FFE2-A98D-4D10-8C7E-59E1757CF67A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/>
              <a:t>Dong &amp; Qing, 2015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251B857-B0B6-4A6D-89AC-D52BB29E27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ynamic-inner PL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5ED92FC-3D2F-40C0-9D83-53670AFC1F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10384F"/>
                </a:solidFill>
                <a:effectLst/>
                <a:uLnTx/>
                <a:uFillTx/>
                <a:latin typeface="Arial"/>
                <a:cs typeface="Arial"/>
              </a:rPr>
              <a:t>/// Bayer 16:9 Template /// September 201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2AAB35A-B534-4CFA-BA4C-88EAB6DAB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AD9179-7A6B-4268-BEB2-F3B8EB06115B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Arial"/>
                <a:cs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057E78C-D0FB-4DC8-BBF5-2196445AEF0A}"/>
              </a:ext>
            </a:extLst>
          </p:cNvPr>
          <p:cNvSpPr txBox="1"/>
          <p:nvPr/>
        </p:nvSpPr>
        <p:spPr bwMode="gray">
          <a:xfrm>
            <a:off x="1018314" y="1743559"/>
            <a:ext cx="11142217" cy="537534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Task: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develop a dynamical PLS algorithm for an explicit description between inner and outer model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accent6"/>
                </a:solidFill>
                <a:latin typeface="Arial" panose="020B0604020202020204" pitchFamily="34" charset="0"/>
                <a:cs typeface="Arial"/>
              </a:rPr>
              <a:t>Method: </a:t>
            </a:r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	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cs typeface="Arial"/>
              </a:rPr>
              <a:t>Outer Modeling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	</a:t>
            </a:r>
            <a:r>
              <a:rPr kumimoji="0" lang="en-US" sz="18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DiPL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: at time k, 	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					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Arial" panose="020B0604020202020204" pitchFamily="34" charset="0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Arial" panose="020B0604020202020204" pitchFamily="34" charset="0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Arial" panose="020B0604020202020204" pitchFamily="34" charset="0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	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cs typeface="Arial"/>
              </a:rPr>
              <a:t>Inner Modeling: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/>
            </a:endParaRPr>
          </a:p>
          <a:p>
            <a:r>
              <a:rPr kumimoji="0" lang="en-US" sz="1800" b="1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	</a:t>
            </a:r>
            <a:r>
              <a:rPr kumimoji="0" lang="en-US" sz="18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DiPL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: at time k,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                                                                  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					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                                                                              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/>
            </a:endParaRPr>
          </a:p>
        </p:txBody>
      </p:sp>
      <p:pic>
        <p:nvPicPr>
          <p:cNvPr id="7" name="Picture 6" descr="A picture containing text, orange&#10;&#10;Description automatically generated">
            <a:extLst>
              <a:ext uri="{FF2B5EF4-FFF2-40B4-BE49-F238E27FC236}">
                <a16:creationId xmlns:a16="http://schemas.microsoft.com/office/drawing/2014/main" id="{C578CE2A-E7BC-4E5E-98E8-4208BCF69A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69971" y="5050153"/>
            <a:ext cx="4145775" cy="703854"/>
          </a:xfrm>
          <a:prstGeom prst="rect">
            <a:avLst/>
          </a:prstGeom>
        </p:spPr>
      </p:pic>
      <p:pic>
        <p:nvPicPr>
          <p:cNvPr id="12" name="Picture 11" descr="Text&#10;&#10;Description automatically generated">
            <a:extLst>
              <a:ext uri="{FF2B5EF4-FFF2-40B4-BE49-F238E27FC236}">
                <a16:creationId xmlns:a16="http://schemas.microsoft.com/office/drawing/2014/main" id="{06E13CC3-B075-4F97-AAA0-E0744EAEF87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58116" y="3094525"/>
            <a:ext cx="1312572" cy="656286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C3E6664-5154-4606-9A00-C29BA0890737}"/>
              </a:ext>
            </a:extLst>
          </p:cNvPr>
          <p:cNvSpPr txBox="1"/>
          <p:nvPr/>
        </p:nvSpPr>
        <p:spPr bwMode="gray">
          <a:xfrm>
            <a:off x="7431748" y="2456754"/>
            <a:ext cx="3111925" cy="65628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PL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: no need to specify time</a:t>
            </a:r>
            <a:endParaRPr lang="en-US" dirty="0"/>
          </a:p>
          <a:p>
            <a:r>
              <a:rPr lang="en-US" dirty="0"/>
              <a:t>       </a:t>
            </a:r>
          </a:p>
          <a:p>
            <a:r>
              <a:rPr lang="en-US" dirty="0"/>
              <a:t>        u = </a:t>
            </a:r>
            <a:r>
              <a:rPr lang="en-US" dirty="0" err="1"/>
              <a:t>Yq</a:t>
            </a:r>
            <a:endParaRPr lang="en-US" dirty="0"/>
          </a:p>
          <a:p>
            <a:r>
              <a:rPr lang="en-US" dirty="0"/>
              <a:t>         t = </a:t>
            </a:r>
            <a:r>
              <a:rPr lang="en-US" dirty="0" err="1"/>
              <a:t>Xw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813E956-7B09-4E5D-85E0-F6BAFE118A1E}"/>
              </a:ext>
            </a:extLst>
          </p:cNvPr>
          <p:cNvSpPr txBox="1"/>
          <p:nvPr/>
        </p:nvSpPr>
        <p:spPr bwMode="gray">
          <a:xfrm>
            <a:off x="7431748" y="4485124"/>
            <a:ext cx="2049744" cy="90549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PL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    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       u =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bt+r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	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7D85AFC-823D-4657-B24D-3355AE2A414A}"/>
              </a:ext>
            </a:extLst>
          </p:cNvPr>
          <p:cNvSpPr/>
          <p:nvPr/>
        </p:nvSpPr>
        <p:spPr bwMode="gray">
          <a:xfrm>
            <a:off x="7928009" y="3031322"/>
            <a:ext cx="991717" cy="65628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5A7CDF1-2351-4C34-9CBA-16FD838ED019}"/>
              </a:ext>
            </a:extLst>
          </p:cNvPr>
          <p:cNvSpPr/>
          <p:nvPr/>
        </p:nvSpPr>
        <p:spPr bwMode="gray">
          <a:xfrm>
            <a:off x="7848274" y="5050153"/>
            <a:ext cx="960861" cy="283548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28FFCEB8-36B3-487F-96E6-C64ACB6E772D}"/>
              </a:ext>
            </a:extLst>
          </p:cNvPr>
          <p:cNvSpPr/>
          <p:nvPr/>
        </p:nvSpPr>
        <p:spPr bwMode="gray">
          <a:xfrm>
            <a:off x="2032002" y="3404196"/>
            <a:ext cx="258618" cy="283412"/>
          </a:xfrm>
          <a:prstGeom prst="ellipse">
            <a:avLst/>
          </a:prstGeom>
          <a:noFill/>
          <a:ln>
            <a:solidFill>
              <a:srgbClr val="00B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807A6FF9-F71A-4DF0-AF10-99F5C8D80659}"/>
              </a:ext>
            </a:extLst>
          </p:cNvPr>
          <p:cNvSpPr/>
          <p:nvPr/>
        </p:nvSpPr>
        <p:spPr bwMode="gray">
          <a:xfrm>
            <a:off x="2073568" y="5461359"/>
            <a:ext cx="258618" cy="283412"/>
          </a:xfrm>
          <a:prstGeom prst="ellipse">
            <a:avLst/>
          </a:prstGeom>
          <a:noFill/>
          <a:ln>
            <a:solidFill>
              <a:srgbClr val="00B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5919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0856FFE2-A98D-4D10-8C7E-59E1757CF67A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/>
              <a:t>Dong &amp; Qing, 2015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251B857-B0B6-4A6D-89AC-D52BB29E27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ynamic-inner PL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5ED92FC-3D2F-40C0-9D83-53670AFC1F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10384F"/>
                </a:solidFill>
                <a:effectLst/>
                <a:uLnTx/>
                <a:uFillTx/>
                <a:latin typeface="Arial"/>
                <a:cs typeface="Arial"/>
              </a:rPr>
              <a:t>/// Bayer 16:9 Template /// September 201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2AAB35A-B534-4CFA-BA4C-88EAB6DAB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AD9179-7A6B-4268-BEB2-F3B8EB06115B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Arial"/>
                <a:cs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057E78C-D0FB-4DC8-BBF5-2196445AEF0A}"/>
              </a:ext>
            </a:extLst>
          </p:cNvPr>
          <p:cNvSpPr txBox="1"/>
          <p:nvPr/>
        </p:nvSpPr>
        <p:spPr bwMode="gray">
          <a:xfrm>
            <a:off x="195843" y="1482661"/>
            <a:ext cx="11142217" cy="537534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Task: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develop a dynamical PLS algorithm for an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explicit description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between inner and outer model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accent6"/>
                </a:solidFill>
                <a:latin typeface="Arial" panose="020B0604020202020204" pitchFamily="34" charset="0"/>
                <a:cs typeface="Arial"/>
              </a:rPr>
              <a:t>Method: </a:t>
            </a:r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	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cs typeface="Arial"/>
              </a:rPr>
              <a:t>Outer Modeling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	</a:t>
            </a:r>
            <a:r>
              <a:rPr kumimoji="0" lang="en-US" sz="18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DiPL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: at time k, 	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					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Arial" panose="020B0604020202020204" pitchFamily="34" charset="0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Arial" panose="020B0604020202020204" pitchFamily="34" charset="0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Arial" panose="020B0604020202020204" pitchFamily="34" charset="0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	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cs typeface="Arial"/>
              </a:rPr>
              <a:t>Inner Modeling: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/>
            </a:endParaRPr>
          </a:p>
          <a:p>
            <a:r>
              <a:rPr kumimoji="0" lang="en-US" sz="1800" b="1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	</a:t>
            </a:r>
            <a:r>
              <a:rPr kumimoji="0" lang="en-US" sz="18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DiPL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: at time k,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                                                                  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					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                                                                              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/>
            </a:endParaRPr>
          </a:p>
        </p:txBody>
      </p:sp>
      <p:pic>
        <p:nvPicPr>
          <p:cNvPr id="7" name="Picture 6" descr="A picture containing text, orange&#10;&#10;Description automatically generated">
            <a:extLst>
              <a:ext uri="{FF2B5EF4-FFF2-40B4-BE49-F238E27FC236}">
                <a16:creationId xmlns:a16="http://schemas.microsoft.com/office/drawing/2014/main" id="{C578CE2A-E7BC-4E5E-98E8-4208BCF69A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0080" y="4934946"/>
            <a:ext cx="4145775" cy="703854"/>
          </a:xfrm>
          <a:prstGeom prst="rect">
            <a:avLst/>
          </a:prstGeom>
        </p:spPr>
      </p:pic>
      <p:pic>
        <p:nvPicPr>
          <p:cNvPr id="12" name="Picture 11" descr="Text&#10;&#10;Description automatically generated">
            <a:extLst>
              <a:ext uri="{FF2B5EF4-FFF2-40B4-BE49-F238E27FC236}">
                <a16:creationId xmlns:a16="http://schemas.microsoft.com/office/drawing/2014/main" id="{06E13CC3-B075-4F97-AAA0-E0744EAEF87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0080" y="2950459"/>
            <a:ext cx="1312572" cy="656286"/>
          </a:xfrm>
          <a:prstGeom prst="rect">
            <a:avLst/>
          </a:prstGeom>
        </p:spPr>
      </p:pic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0398B488-FCA9-4B7C-94AC-444A92A7EB36}"/>
              </a:ext>
            </a:extLst>
          </p:cNvPr>
          <p:cNvCxnSpPr>
            <a:cxnSpLocks/>
          </p:cNvCxnSpPr>
          <p:nvPr/>
        </p:nvCxnSpPr>
        <p:spPr bwMode="gray">
          <a:xfrm flipH="1" flipV="1">
            <a:off x="1572625" y="5668555"/>
            <a:ext cx="5567723" cy="181560"/>
          </a:xfrm>
          <a:prstGeom prst="straightConnector1">
            <a:avLst/>
          </a:prstGeom>
          <a:ln w="38100">
            <a:solidFill>
              <a:srgbClr val="00BC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629CBEEC-5796-45B6-9177-FB4BE0231A82}"/>
              </a:ext>
            </a:extLst>
          </p:cNvPr>
          <p:cNvCxnSpPr>
            <a:cxnSpLocks/>
          </p:cNvCxnSpPr>
          <p:nvPr/>
        </p:nvCxnSpPr>
        <p:spPr bwMode="gray">
          <a:xfrm flipH="1" flipV="1">
            <a:off x="2392485" y="3474588"/>
            <a:ext cx="4747863" cy="2365609"/>
          </a:xfrm>
          <a:prstGeom prst="straightConnector1">
            <a:avLst/>
          </a:prstGeom>
          <a:ln w="38100">
            <a:solidFill>
              <a:srgbClr val="00BC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2DC6CACD-940B-447C-816F-8207DAA08483}"/>
              </a:ext>
            </a:extLst>
          </p:cNvPr>
          <p:cNvSpPr txBox="1"/>
          <p:nvPr/>
        </p:nvSpPr>
        <p:spPr bwMode="gray">
          <a:xfrm>
            <a:off x="588169" y="6035395"/>
            <a:ext cx="5449454" cy="53635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u="sng" noProof="0" dirty="0">
                <a:solidFill>
                  <a:srgbClr val="00BCFF"/>
                </a:solidFill>
                <a:latin typeface="Arial" panose="020B0604020202020204" pitchFamily="34" charset="0"/>
                <a:cs typeface="Arial"/>
              </a:rPr>
              <a:t>c</a:t>
            </a:r>
            <a:r>
              <a:rPr kumimoji="0" lang="en-US" sz="1800" b="1" i="0" u="sng" strike="noStrike" kern="1200" cap="none" spc="0" normalizeH="0" baseline="0" noProof="0" dirty="0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onsistent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 between outer and inner dynamics!!!!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rgbClr val="00BCFF"/>
                </a:solidFill>
                <a:latin typeface="Arial" panose="020B0604020202020204" pitchFamily="34" charset="0"/>
                <a:cs typeface="Arial"/>
              </a:rPr>
              <a:t>(easier to interpret)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Arial" panose="020B0604020202020204" pitchFamily="34" charset="0"/>
              <a:cs typeface="Arial"/>
            </a:endParaRPr>
          </a:p>
        </p:txBody>
      </p:sp>
      <p:pic>
        <p:nvPicPr>
          <p:cNvPr id="31" name="Picture 30" descr="Text, schematic&#10;&#10;Description automatically generated">
            <a:extLst>
              <a:ext uri="{FF2B5EF4-FFF2-40B4-BE49-F238E27FC236}">
                <a16:creationId xmlns:a16="http://schemas.microsoft.com/office/drawing/2014/main" id="{85585130-0289-4761-8A01-6BEA59CFA26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94846" y="5920486"/>
            <a:ext cx="3959389" cy="595246"/>
          </a:xfrm>
          <a:prstGeom prst="rect">
            <a:avLst/>
          </a:prstGeom>
        </p:spPr>
      </p:pic>
      <p:sp>
        <p:nvSpPr>
          <p:cNvPr id="18" name="Oval 17">
            <a:extLst>
              <a:ext uri="{FF2B5EF4-FFF2-40B4-BE49-F238E27FC236}">
                <a16:creationId xmlns:a16="http://schemas.microsoft.com/office/drawing/2014/main" id="{28FFCEB8-36B3-487F-96E6-C64ACB6E772D}"/>
              </a:ext>
            </a:extLst>
          </p:cNvPr>
          <p:cNvSpPr/>
          <p:nvPr/>
        </p:nvSpPr>
        <p:spPr bwMode="gray">
          <a:xfrm>
            <a:off x="1163785" y="3272589"/>
            <a:ext cx="258618" cy="283412"/>
          </a:xfrm>
          <a:prstGeom prst="ellipse">
            <a:avLst/>
          </a:prstGeom>
          <a:noFill/>
          <a:ln>
            <a:solidFill>
              <a:srgbClr val="00B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807A6FF9-F71A-4DF0-AF10-99F5C8D80659}"/>
              </a:ext>
            </a:extLst>
          </p:cNvPr>
          <p:cNvSpPr/>
          <p:nvPr/>
        </p:nvSpPr>
        <p:spPr bwMode="gray">
          <a:xfrm>
            <a:off x="1297713" y="5355388"/>
            <a:ext cx="258618" cy="283412"/>
          </a:xfrm>
          <a:prstGeom prst="ellipse">
            <a:avLst/>
          </a:prstGeom>
          <a:noFill/>
          <a:ln>
            <a:solidFill>
              <a:srgbClr val="00B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pic>
        <p:nvPicPr>
          <p:cNvPr id="9" name="Picture 8" descr="Text, letter&#10;&#10;Description automatically generated">
            <a:extLst>
              <a:ext uri="{FF2B5EF4-FFF2-40B4-BE49-F238E27FC236}">
                <a16:creationId xmlns:a16="http://schemas.microsoft.com/office/drawing/2014/main" id="{AFF49011-D2B4-41BE-BC1D-57DD383E6B3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10597" y="1872656"/>
            <a:ext cx="3136051" cy="3911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7029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9636" y="3626642"/>
            <a:ext cx="8063346" cy="1440753"/>
          </a:xfrm>
        </p:spPr>
        <p:txBody>
          <a:bodyPr/>
          <a:lstStyle/>
          <a:p>
            <a:r>
              <a:rPr lang="en-US" dirty="0"/>
              <a:t>Implement </a:t>
            </a:r>
            <a:r>
              <a:rPr lang="en-US" dirty="0" err="1"/>
              <a:t>DiPLS</a:t>
            </a:r>
            <a:r>
              <a:rPr lang="en-US" dirty="0"/>
              <a:t> method</a:t>
            </a:r>
            <a:br>
              <a:rPr lang="en-US" dirty="0"/>
            </a:br>
            <a:r>
              <a:rPr lang="en-US" dirty="0"/>
              <a:t>in 3 case studies 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September 2018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018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05B74DC7-357E-46FC-AC9E-FAC7A039C408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/>
              <a:t>3 sets of 1000 (xi, </a:t>
            </a:r>
            <a:r>
              <a:rPr lang="en-US" dirty="0" err="1"/>
              <a:t>yi</a:t>
            </a:r>
            <a:r>
              <a:rPr lang="en-US" dirty="0"/>
              <a:t>) data are simulated:  500 training + 400 validation + 100 testing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71C4048-DE27-4720-BFE7-B449D85EF8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se studies in synthetic data: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318CA16-ACC6-4098-9C58-0CDC8B804A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September 201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56D002-996E-47E2-BFF8-F2A70966BB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19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A018453-9A6E-44CE-BA9F-E8E333E96C1E}"/>
              </a:ext>
            </a:extLst>
          </p:cNvPr>
          <p:cNvSpPr txBox="1"/>
          <p:nvPr/>
        </p:nvSpPr>
        <p:spPr bwMode="gray">
          <a:xfrm>
            <a:off x="5638800" y="3028335"/>
            <a:ext cx="914400" cy="91440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62A0DFD-164E-4A97-9193-0F2F2850A77E}"/>
              </a:ext>
            </a:extLst>
          </p:cNvPr>
          <p:cNvSpPr/>
          <p:nvPr/>
        </p:nvSpPr>
        <p:spPr bwMode="gray">
          <a:xfrm>
            <a:off x="1470562" y="2292427"/>
            <a:ext cx="1762664" cy="821932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0" name="Arrow: Down 9">
            <a:extLst>
              <a:ext uri="{FF2B5EF4-FFF2-40B4-BE49-F238E27FC236}">
                <a16:creationId xmlns:a16="http://schemas.microsoft.com/office/drawing/2014/main" id="{ABA60C0A-25A8-42C0-85E4-136E8C5B0407}"/>
              </a:ext>
            </a:extLst>
          </p:cNvPr>
          <p:cNvSpPr/>
          <p:nvPr/>
        </p:nvSpPr>
        <p:spPr bwMode="gray">
          <a:xfrm>
            <a:off x="1773832" y="3365981"/>
            <a:ext cx="796413" cy="1039385"/>
          </a:xfrm>
          <a:prstGeom prst="downArrow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CDA540A-D56E-4249-91C4-65EAB63C90D1}"/>
              </a:ext>
            </a:extLst>
          </p:cNvPr>
          <p:cNvSpPr/>
          <p:nvPr/>
        </p:nvSpPr>
        <p:spPr bwMode="gray">
          <a:xfrm>
            <a:off x="4819519" y="2292427"/>
            <a:ext cx="2054942" cy="780155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1EA69E0-1661-4D17-89AB-4C555994E724}"/>
              </a:ext>
            </a:extLst>
          </p:cNvPr>
          <p:cNvSpPr txBox="1"/>
          <p:nvPr/>
        </p:nvSpPr>
        <p:spPr bwMode="gray">
          <a:xfrm>
            <a:off x="5294672" y="2372915"/>
            <a:ext cx="1403774" cy="700549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X ~ </a:t>
            </a:r>
            <a:r>
              <a:rPr lang="en-US" sz="1800" b="0" i="0" u="none" baseline="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Dynamic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Y ~ Static</a:t>
            </a:r>
            <a:endParaRPr lang="en-US" sz="1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8A3BA6C-C748-478E-9CAD-83CC0A15BBAF}"/>
              </a:ext>
            </a:extLst>
          </p:cNvPr>
          <p:cNvSpPr txBox="1"/>
          <p:nvPr/>
        </p:nvSpPr>
        <p:spPr bwMode="gray">
          <a:xfrm>
            <a:off x="1773832" y="2345877"/>
            <a:ext cx="1079224" cy="700549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X ~ Static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Y ~ Static</a:t>
            </a:r>
            <a:endParaRPr lang="en-US" sz="1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3" name="Arrow: Down 12">
            <a:extLst>
              <a:ext uri="{FF2B5EF4-FFF2-40B4-BE49-F238E27FC236}">
                <a16:creationId xmlns:a16="http://schemas.microsoft.com/office/drawing/2014/main" id="{C1CBF18B-9EE6-4CE4-9091-22BAB60A54BE}"/>
              </a:ext>
            </a:extLst>
          </p:cNvPr>
          <p:cNvSpPr/>
          <p:nvPr/>
        </p:nvSpPr>
        <p:spPr bwMode="gray">
          <a:xfrm>
            <a:off x="5493554" y="3446128"/>
            <a:ext cx="796413" cy="1039385"/>
          </a:xfrm>
          <a:prstGeom prst="downArrow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C0D6CAF-CBB1-4B01-808E-B981B2EADAEF}"/>
              </a:ext>
            </a:extLst>
          </p:cNvPr>
          <p:cNvSpPr txBox="1"/>
          <p:nvPr/>
        </p:nvSpPr>
        <p:spPr bwMode="gray">
          <a:xfrm>
            <a:off x="9429148" y="3072582"/>
            <a:ext cx="914400" cy="91440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E8A1D92-4572-4E0B-882E-EE383041D629}"/>
              </a:ext>
            </a:extLst>
          </p:cNvPr>
          <p:cNvSpPr/>
          <p:nvPr/>
        </p:nvSpPr>
        <p:spPr bwMode="gray">
          <a:xfrm>
            <a:off x="8957187" y="2277943"/>
            <a:ext cx="1762664" cy="836416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521F7BD-ADFA-4591-8500-86694DC7AB43}"/>
              </a:ext>
            </a:extLst>
          </p:cNvPr>
          <p:cNvSpPr txBox="1"/>
          <p:nvPr/>
        </p:nvSpPr>
        <p:spPr bwMode="gray">
          <a:xfrm>
            <a:off x="9184461" y="2345877"/>
            <a:ext cx="1403774" cy="700549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X ~ Static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Y ~ </a:t>
            </a:r>
            <a:r>
              <a:rPr lang="en-US" sz="1800" b="0" i="0" u="none" baseline="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Dynamic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6" name="Arrow: Down 15">
            <a:extLst>
              <a:ext uri="{FF2B5EF4-FFF2-40B4-BE49-F238E27FC236}">
                <a16:creationId xmlns:a16="http://schemas.microsoft.com/office/drawing/2014/main" id="{05FCF95F-4735-42A9-9435-F59236022932}"/>
              </a:ext>
            </a:extLst>
          </p:cNvPr>
          <p:cNvSpPr/>
          <p:nvPr/>
        </p:nvSpPr>
        <p:spPr bwMode="gray">
          <a:xfrm>
            <a:off x="9294174" y="3422168"/>
            <a:ext cx="796413" cy="1039385"/>
          </a:xfrm>
          <a:prstGeom prst="downArrow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pic>
        <p:nvPicPr>
          <p:cNvPr id="21" name="Picture 20" descr="A picture containing text&#10;&#10;Description automatically generated">
            <a:extLst>
              <a:ext uri="{FF2B5EF4-FFF2-40B4-BE49-F238E27FC236}">
                <a16:creationId xmlns:a16="http://schemas.microsoft.com/office/drawing/2014/main" id="{6ABEB7D2-82BE-4E64-B99C-B4D0CA3253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24589" y="4814287"/>
            <a:ext cx="1910224" cy="673654"/>
          </a:xfrm>
          <a:prstGeom prst="rect">
            <a:avLst/>
          </a:prstGeom>
        </p:spPr>
      </p:pic>
      <p:pic>
        <p:nvPicPr>
          <p:cNvPr id="23" name="Picture 22" descr="A picture containing text, orange&#10;&#10;Description automatically generated">
            <a:extLst>
              <a:ext uri="{FF2B5EF4-FFF2-40B4-BE49-F238E27FC236}">
                <a16:creationId xmlns:a16="http://schemas.microsoft.com/office/drawing/2014/main" id="{D3267B06-6652-4653-A103-3BFB0C3AF80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45039" y="4810127"/>
            <a:ext cx="3034487" cy="905678"/>
          </a:xfrm>
          <a:prstGeom prst="rect">
            <a:avLst/>
          </a:prstGeom>
        </p:spPr>
      </p:pic>
      <p:pic>
        <p:nvPicPr>
          <p:cNvPr id="25" name="Picture 24" descr="Chart, box and whisker chart&#10;&#10;Description automatically generated">
            <a:extLst>
              <a:ext uri="{FF2B5EF4-FFF2-40B4-BE49-F238E27FC236}">
                <a16:creationId xmlns:a16="http://schemas.microsoft.com/office/drawing/2014/main" id="{665E4FD0-1A46-42BD-A23C-4C9197E7654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86630" y="4882941"/>
            <a:ext cx="3207914" cy="766221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E326235E-3EFD-493D-A3B4-CDAE76EAD5D3}"/>
              </a:ext>
            </a:extLst>
          </p:cNvPr>
          <p:cNvSpPr txBox="1"/>
          <p:nvPr/>
        </p:nvSpPr>
        <p:spPr bwMode="gray">
          <a:xfrm>
            <a:off x="1435510" y="5869857"/>
            <a:ext cx="2467897" cy="52021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(</a:t>
            </a:r>
            <a:r>
              <a:rPr lang="en-US" sz="1800" b="0" i="0" u="none" baseline="0" dirty="0" err="1">
                <a:solidFill>
                  <a:srgbClr val="000000"/>
                </a:solidFill>
                <a:latin typeface="Arial" panose="020B0604020202020204" pitchFamily="34" charset="0"/>
              </a:rPr>
              <a:t>DiPLS</a:t>
            </a: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 = PLS)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E7C4DB9-1345-4251-81AB-6B5980327DD1}"/>
              </a:ext>
            </a:extLst>
          </p:cNvPr>
          <p:cNvSpPr txBox="1"/>
          <p:nvPr/>
        </p:nvSpPr>
        <p:spPr bwMode="gray">
          <a:xfrm>
            <a:off x="4124562" y="1655668"/>
            <a:ext cx="3875440" cy="295363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X has 5 features and Y has 1 property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F0AA0EE-0831-4C38-AC90-C21EE88D3C48}"/>
              </a:ext>
            </a:extLst>
          </p:cNvPr>
          <p:cNvSpPr/>
          <p:nvPr/>
        </p:nvSpPr>
        <p:spPr bwMode="gray">
          <a:xfrm>
            <a:off x="3755128" y="1503644"/>
            <a:ext cx="4680155" cy="598886"/>
          </a:xfrm>
          <a:prstGeom prst="rect">
            <a:avLst/>
          </a:prstGeom>
          <a:noFill/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A10FD306-3830-4343-913C-6A59CF9FB2F0}"/>
              </a:ext>
            </a:extLst>
          </p:cNvPr>
          <p:cNvSpPr/>
          <p:nvPr/>
        </p:nvSpPr>
        <p:spPr bwMode="gray">
          <a:xfrm>
            <a:off x="5488105" y="4895156"/>
            <a:ext cx="506293" cy="307176"/>
          </a:xfrm>
          <a:prstGeom prst="ellipse">
            <a:avLst/>
          </a:prstGeom>
          <a:noFill/>
          <a:ln>
            <a:solidFill>
              <a:srgbClr val="00B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5844276C-41E1-4CF3-B31A-5190FC481A6C}"/>
              </a:ext>
            </a:extLst>
          </p:cNvPr>
          <p:cNvSpPr/>
          <p:nvPr/>
        </p:nvSpPr>
        <p:spPr bwMode="gray">
          <a:xfrm>
            <a:off x="6490250" y="4881307"/>
            <a:ext cx="506293" cy="307176"/>
          </a:xfrm>
          <a:prstGeom prst="ellipse">
            <a:avLst/>
          </a:prstGeom>
          <a:noFill/>
          <a:ln>
            <a:solidFill>
              <a:srgbClr val="00B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938C1283-420A-440C-A8D2-364D60F85CC5}"/>
              </a:ext>
            </a:extLst>
          </p:cNvPr>
          <p:cNvSpPr/>
          <p:nvPr/>
        </p:nvSpPr>
        <p:spPr bwMode="gray">
          <a:xfrm>
            <a:off x="10411093" y="5236905"/>
            <a:ext cx="506293" cy="307176"/>
          </a:xfrm>
          <a:prstGeom prst="ellipse">
            <a:avLst/>
          </a:prstGeom>
          <a:noFill/>
          <a:ln>
            <a:solidFill>
              <a:srgbClr val="00B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176C4AAD-B3EB-4453-B14B-5B737D42771C}"/>
              </a:ext>
            </a:extLst>
          </p:cNvPr>
          <p:cNvSpPr/>
          <p:nvPr/>
        </p:nvSpPr>
        <p:spPr bwMode="gray">
          <a:xfrm>
            <a:off x="1237673" y="3315855"/>
            <a:ext cx="184730" cy="240146"/>
          </a:xfrm>
          <a:prstGeom prst="ellipse">
            <a:avLst/>
          </a:prstGeom>
          <a:noFill/>
          <a:ln>
            <a:solidFill>
              <a:srgbClr val="00B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6311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/// Bayer 16:9 Template /// September 2018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6218" y="1701784"/>
            <a:ext cx="4596782" cy="2613041"/>
          </a:xfrm>
        </p:spPr>
        <p:txBody>
          <a:bodyPr/>
          <a:lstStyle/>
          <a:p>
            <a:r>
              <a:rPr lang="en-US" sz="3600" b="1" i="0" dirty="0"/>
              <a:t>Evaluation of Dynamic Partial Least Square Method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85121" y="4629647"/>
            <a:ext cx="3143904" cy="732928"/>
          </a:xfrm>
        </p:spPr>
        <p:txBody>
          <a:bodyPr vert="horz" lIns="0" tIns="0" rIns="0" bIns="0" rtlCol="0" anchor="t">
            <a:noAutofit/>
          </a:bodyPr>
          <a:lstStyle/>
          <a:p>
            <a:pPr algn="ctr"/>
            <a:r>
              <a:rPr lang="en-US" dirty="0"/>
              <a:t>/// August 25</a:t>
            </a:r>
            <a:r>
              <a:rPr lang="en-US" baseline="30000" dirty="0"/>
              <a:t>th</a:t>
            </a:r>
            <a:r>
              <a:rPr lang="en-US" dirty="0"/>
              <a:t> ///</a:t>
            </a:r>
          </a:p>
          <a:p>
            <a:pPr algn="ctr"/>
            <a:r>
              <a:rPr lang="en-US" dirty="0"/>
              <a:t>Vicky Zhu</a:t>
            </a:r>
          </a:p>
          <a:p>
            <a:endParaRPr lang="en-US" dirty="0"/>
          </a:p>
          <a:p>
            <a:pPr algn="ctr"/>
            <a:r>
              <a:rPr lang="en-US" dirty="0"/>
              <a:t>Advisors:</a:t>
            </a:r>
          </a:p>
          <a:p>
            <a:pPr algn="ctr"/>
            <a:r>
              <a:rPr lang="en-US" b="0" dirty="0"/>
              <a:t>Shyam Panjwani </a:t>
            </a:r>
          </a:p>
          <a:p>
            <a:pPr algn="ctr"/>
            <a:r>
              <a:rPr lang="en-US" b="0" dirty="0"/>
              <a:t>Hao Wei</a:t>
            </a:r>
          </a:p>
          <a:p>
            <a:pPr algn="ctr"/>
            <a:r>
              <a:rPr lang="en-US" b="0" dirty="0"/>
              <a:t>Kostas </a:t>
            </a:r>
            <a:r>
              <a:rPr lang="en-US" b="0" dirty="0" err="1"/>
              <a:t>Spetsieris</a:t>
            </a:r>
            <a:endParaRPr lang="en-US" b="0" dirty="0"/>
          </a:p>
          <a:p>
            <a:pPr algn="ctr"/>
            <a:endParaRPr lang="en-US" b="0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15" name="Parallelogram 32"/>
          <p:cNvSpPr/>
          <p:nvPr/>
        </p:nvSpPr>
        <p:spPr bwMode="gray">
          <a:xfrm>
            <a:off x="4086231" y="-724"/>
            <a:ext cx="4032000" cy="6858724"/>
          </a:xfrm>
          <a:prstGeom prst="parallelogram">
            <a:avLst>
              <a:gd name="adj" fmla="val 32935"/>
            </a:avLst>
          </a:prstGeom>
          <a:blipFill>
            <a:blip r:embed="rId3"/>
            <a:srcRect/>
            <a:stretch>
              <a:fillRect l="-6703" r="-670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Parallelogram 37"/>
          <p:cNvSpPr/>
          <p:nvPr/>
        </p:nvSpPr>
        <p:spPr bwMode="gray">
          <a:xfrm>
            <a:off x="6787822" y="-724"/>
            <a:ext cx="4032000" cy="6858724"/>
          </a:xfrm>
          <a:custGeom>
            <a:avLst/>
            <a:gdLst/>
            <a:ahLst/>
            <a:cxnLst/>
            <a:rect l="l" t="t" r="r" b="b"/>
            <a:pathLst>
              <a:path w="4032000" h="6858724">
                <a:moveTo>
                  <a:pt x="1327939" y="0"/>
                </a:moveTo>
                <a:lnTo>
                  <a:pt x="4032000" y="0"/>
                </a:lnTo>
                <a:lnTo>
                  <a:pt x="2780422" y="6464325"/>
                </a:lnTo>
                <a:lnTo>
                  <a:pt x="517853" y="6858724"/>
                </a:lnTo>
                <a:lnTo>
                  <a:pt x="0" y="6858724"/>
                </a:lnTo>
                <a:close/>
              </a:path>
            </a:pathLst>
          </a:custGeom>
          <a:blipFill>
            <a:blip r:embed="rId4"/>
            <a:srcRect/>
            <a:stretch>
              <a:fillRect l="-105929" r="-4923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Parallelogram 38"/>
          <p:cNvSpPr/>
          <p:nvPr/>
        </p:nvSpPr>
        <p:spPr bwMode="gray">
          <a:xfrm>
            <a:off x="9565690" y="0"/>
            <a:ext cx="2627107" cy="6464770"/>
          </a:xfrm>
          <a:custGeom>
            <a:avLst/>
            <a:gdLst/>
            <a:ahLst/>
            <a:cxnLst/>
            <a:rect l="l" t="t" r="r" b="b"/>
            <a:pathLst>
              <a:path w="2627107" h="6464770">
                <a:moveTo>
                  <a:pt x="1251664" y="0"/>
                </a:moveTo>
                <a:lnTo>
                  <a:pt x="2627107" y="0"/>
                </a:lnTo>
                <a:lnTo>
                  <a:pt x="2627107" y="6007241"/>
                </a:lnTo>
                <a:lnTo>
                  <a:pt x="2624724" y="6007241"/>
                </a:lnTo>
                <a:lnTo>
                  <a:pt x="2624723" y="6007241"/>
                </a:lnTo>
                <a:lnTo>
                  <a:pt x="0" y="6464770"/>
                </a:lnTo>
                <a:close/>
              </a:path>
            </a:pathLst>
          </a:custGeom>
          <a:blipFill>
            <a:blip r:embed="rId5"/>
            <a:srcRect/>
            <a:stretch>
              <a:fillRect l="-22293" r="-2229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7" name="Straight Connector 6"/>
          <p:cNvCxnSpPr/>
          <p:nvPr/>
        </p:nvCxnSpPr>
        <p:spPr bwMode="gray">
          <a:xfrm flipH="1">
            <a:off x="6787822" y="-724"/>
            <a:ext cx="1330409" cy="6858724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 bwMode="gray">
          <a:xfrm flipH="1">
            <a:off x="4086231" y="-724"/>
            <a:ext cx="1330409" cy="6858724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 bwMode="gray">
          <a:xfrm flipH="1">
            <a:off x="9566722" y="-724"/>
            <a:ext cx="1253994" cy="646477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44808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48C75561-6334-476D-9124-96441C666A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981820" y="1124770"/>
            <a:ext cx="10798461" cy="252000"/>
          </a:xfrm>
        </p:spPr>
        <p:txBody>
          <a:bodyPr/>
          <a:lstStyle/>
          <a:p>
            <a:r>
              <a:rPr lang="en-US" dirty="0"/>
              <a:t> since x depends on t, so generate t(k)~N(0,4) independent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92061D4-9269-484D-B028-F826DFD199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: case study 1 -- static process for X and Y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54CF519-5A5A-4B6C-B354-8A9FADA9A9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September 201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4A220B0-500B-499B-A376-F05ABB2F3C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20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13FAD25-6746-418C-8F15-DC93CE6B1B58}"/>
              </a:ext>
            </a:extLst>
          </p:cNvPr>
          <p:cNvSpPr txBox="1"/>
          <p:nvPr/>
        </p:nvSpPr>
        <p:spPr bwMode="gray">
          <a:xfrm>
            <a:off x="974672" y="1505944"/>
            <a:ext cx="3524249" cy="29208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1st</a:t>
            </a: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 component for the original data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DD75FCF-242F-411A-BBDF-12C045D380DA}"/>
              </a:ext>
            </a:extLst>
          </p:cNvPr>
          <p:cNvSpPr txBox="1"/>
          <p:nvPr/>
        </p:nvSpPr>
        <p:spPr bwMode="gray">
          <a:xfrm>
            <a:off x="4782869" y="1513728"/>
            <a:ext cx="3676650" cy="3476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2nd</a:t>
            </a: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 component for the residuals</a:t>
            </a:r>
          </a:p>
        </p:txBody>
      </p:sp>
      <p:pic>
        <p:nvPicPr>
          <p:cNvPr id="1032" name="Picture 8">
            <a:extLst>
              <a:ext uri="{FF2B5EF4-FFF2-40B4-BE49-F238E27FC236}">
                <a16:creationId xmlns:a16="http://schemas.microsoft.com/office/drawing/2014/main" id="{5004BAA2-2D0A-4CA4-9E94-627AEF4ED8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185" y="1755461"/>
            <a:ext cx="3287251" cy="2203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>
            <a:extLst>
              <a:ext uri="{FF2B5EF4-FFF2-40B4-BE49-F238E27FC236}">
                <a16:creationId xmlns:a16="http://schemas.microsoft.com/office/drawing/2014/main" id="{9C9D007E-AF05-42D2-AAAC-F3BB41DDDA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1835" y="1840065"/>
            <a:ext cx="3379982" cy="2171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BEAE80C-81B5-4D4F-89C1-9C2048044EA8}"/>
              </a:ext>
            </a:extLst>
          </p:cNvPr>
          <p:cNvSpPr txBox="1"/>
          <p:nvPr/>
        </p:nvSpPr>
        <p:spPr bwMode="gray">
          <a:xfrm>
            <a:off x="60603" y="1183851"/>
            <a:ext cx="960582" cy="37869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Training </a:t>
            </a:r>
          </a:p>
        </p:txBody>
      </p:sp>
      <p:pic>
        <p:nvPicPr>
          <p:cNvPr id="1036" name="Picture 12">
            <a:extLst>
              <a:ext uri="{FF2B5EF4-FFF2-40B4-BE49-F238E27FC236}">
                <a16:creationId xmlns:a16="http://schemas.microsoft.com/office/drawing/2014/main" id="{093FE128-1480-4190-B60E-711E97A459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5702" y="1811446"/>
            <a:ext cx="3379982" cy="2171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03A5E372-73F9-46E4-963F-B5B45E5B8589}"/>
              </a:ext>
            </a:extLst>
          </p:cNvPr>
          <p:cNvSpPr txBox="1"/>
          <p:nvPr/>
        </p:nvSpPr>
        <p:spPr bwMode="gray">
          <a:xfrm>
            <a:off x="8269034" y="1505944"/>
            <a:ext cx="4108016" cy="39305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3rd component for leftover white nois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280AC70-28F2-4977-B2CB-41D479DB1A63}"/>
              </a:ext>
            </a:extLst>
          </p:cNvPr>
          <p:cNvSpPr txBox="1"/>
          <p:nvPr/>
        </p:nvSpPr>
        <p:spPr bwMode="gray">
          <a:xfrm>
            <a:off x="109645" y="4197434"/>
            <a:ext cx="960582" cy="37869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Testing </a:t>
            </a:r>
          </a:p>
        </p:txBody>
      </p:sp>
      <p:pic>
        <p:nvPicPr>
          <p:cNvPr id="1038" name="Picture 14">
            <a:extLst>
              <a:ext uri="{FF2B5EF4-FFF2-40B4-BE49-F238E27FC236}">
                <a16:creationId xmlns:a16="http://schemas.microsoft.com/office/drawing/2014/main" id="{3F285E30-3189-44F1-9469-08CAF6A01A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185" y="4186697"/>
            <a:ext cx="3287251" cy="22033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F467548B-04A7-4360-A0C3-2FAF91187972}"/>
              </a:ext>
            </a:extLst>
          </p:cNvPr>
          <p:cNvSpPr txBox="1"/>
          <p:nvPr/>
        </p:nvSpPr>
        <p:spPr bwMode="gray">
          <a:xfrm>
            <a:off x="1672018" y="6302307"/>
            <a:ext cx="2428928" cy="214656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MSE for Y: </a:t>
            </a: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 0.000</a:t>
            </a:r>
            <a:r>
              <a:rPr lang="en-US" sz="1800" b="0" i="0" u="none" baseline="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6</a:t>
            </a: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1</a:t>
            </a:r>
          </a:p>
        </p:txBody>
      </p:sp>
      <p:pic>
        <p:nvPicPr>
          <p:cNvPr id="1043" name="Picture 19">
            <a:extLst>
              <a:ext uri="{FF2B5EF4-FFF2-40B4-BE49-F238E27FC236}">
                <a16:creationId xmlns:a16="http://schemas.microsoft.com/office/drawing/2014/main" id="{557780B8-A79C-4486-94C3-B96B17FC84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8992" y="4188608"/>
            <a:ext cx="3284399" cy="22014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C6980F78-748F-4344-9C71-5E7A4DBCE6D0}"/>
              </a:ext>
            </a:extLst>
          </p:cNvPr>
          <p:cNvSpPr txBox="1"/>
          <p:nvPr/>
        </p:nvSpPr>
        <p:spPr bwMode="gray">
          <a:xfrm>
            <a:off x="5325003" y="6306927"/>
            <a:ext cx="2428928" cy="214656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MSE for Y: </a:t>
            </a: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 0.000</a:t>
            </a:r>
            <a:r>
              <a:rPr lang="en-US" sz="1800" b="0" i="0" u="none" baseline="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5</a:t>
            </a: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3</a:t>
            </a:r>
          </a:p>
        </p:txBody>
      </p:sp>
      <p:pic>
        <p:nvPicPr>
          <p:cNvPr id="1045" name="Picture 21">
            <a:extLst>
              <a:ext uri="{FF2B5EF4-FFF2-40B4-BE49-F238E27FC236}">
                <a16:creationId xmlns:a16="http://schemas.microsoft.com/office/drawing/2014/main" id="{0BDB71D1-62D6-4E9D-942E-97420AE88B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8750" y="4181317"/>
            <a:ext cx="3248584" cy="2177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A4894423-A547-48F1-B0CC-EA65AAC8A25E}"/>
              </a:ext>
            </a:extLst>
          </p:cNvPr>
          <p:cNvSpPr txBox="1"/>
          <p:nvPr/>
        </p:nvSpPr>
        <p:spPr bwMode="gray">
          <a:xfrm>
            <a:off x="9236608" y="6265364"/>
            <a:ext cx="2428928" cy="214656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MSE for Y: </a:t>
            </a: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 0.000</a:t>
            </a:r>
            <a:r>
              <a:rPr lang="en-US" sz="1800" b="0" i="0" u="none" baseline="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4</a:t>
            </a: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7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0BC3543-E058-465C-86AA-E30B1484E6BF}"/>
              </a:ext>
            </a:extLst>
          </p:cNvPr>
          <p:cNvSpPr txBox="1"/>
          <p:nvPr/>
        </p:nvSpPr>
        <p:spPr bwMode="gray">
          <a:xfrm>
            <a:off x="2427541" y="3865620"/>
            <a:ext cx="825190" cy="29208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t</a:t>
            </a: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rial #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C64E969-086B-462C-BB57-71D8872284AA}"/>
              </a:ext>
            </a:extLst>
          </p:cNvPr>
          <p:cNvSpPr txBox="1"/>
          <p:nvPr/>
        </p:nvSpPr>
        <p:spPr bwMode="gray">
          <a:xfrm>
            <a:off x="6288734" y="3938254"/>
            <a:ext cx="825190" cy="29208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t</a:t>
            </a: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rial #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F68ED4E-4AB3-444B-972C-7D83463198FE}"/>
              </a:ext>
            </a:extLst>
          </p:cNvPr>
          <p:cNvSpPr txBox="1"/>
          <p:nvPr/>
        </p:nvSpPr>
        <p:spPr bwMode="gray">
          <a:xfrm>
            <a:off x="10170948" y="3889236"/>
            <a:ext cx="825190" cy="29208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t</a:t>
            </a: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rial #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C83D706-EBA7-48C9-AC6B-EB4CE478281C}"/>
              </a:ext>
            </a:extLst>
          </p:cNvPr>
          <p:cNvSpPr txBox="1"/>
          <p:nvPr/>
        </p:nvSpPr>
        <p:spPr bwMode="gray">
          <a:xfrm>
            <a:off x="883769" y="2714402"/>
            <a:ext cx="237810" cy="45720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y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6531463-F88B-4C4F-94CF-F5C2933A4FA3}"/>
              </a:ext>
            </a:extLst>
          </p:cNvPr>
          <p:cNvSpPr txBox="1"/>
          <p:nvPr/>
        </p:nvSpPr>
        <p:spPr bwMode="gray">
          <a:xfrm>
            <a:off x="4653801" y="5059771"/>
            <a:ext cx="237810" cy="45720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y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83A2590-83CD-4F9F-A71B-4A7BC37F837A}"/>
              </a:ext>
            </a:extLst>
          </p:cNvPr>
          <p:cNvSpPr txBox="1"/>
          <p:nvPr/>
        </p:nvSpPr>
        <p:spPr bwMode="gray">
          <a:xfrm>
            <a:off x="902280" y="5041431"/>
            <a:ext cx="237810" cy="45720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y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32C2FFF-C661-43C3-9CD8-9833F875CBF9}"/>
              </a:ext>
            </a:extLst>
          </p:cNvPr>
          <p:cNvSpPr txBox="1"/>
          <p:nvPr/>
        </p:nvSpPr>
        <p:spPr bwMode="gray">
          <a:xfrm>
            <a:off x="8593947" y="5028014"/>
            <a:ext cx="237810" cy="45720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y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80888C6-AE1E-4F57-AD62-3CE7E37467E3}"/>
              </a:ext>
            </a:extLst>
          </p:cNvPr>
          <p:cNvSpPr txBox="1"/>
          <p:nvPr/>
        </p:nvSpPr>
        <p:spPr bwMode="gray">
          <a:xfrm>
            <a:off x="4308435" y="2626546"/>
            <a:ext cx="620828" cy="45720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err="1">
                <a:solidFill>
                  <a:srgbClr val="000000"/>
                </a:solidFill>
                <a:latin typeface="Arial" panose="020B0604020202020204" pitchFamily="34" charset="0"/>
              </a:rPr>
              <a:t>y_res</a:t>
            </a:r>
            <a:endParaRPr lang="en-US" sz="1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645DDAA-6F06-45A9-AE37-7176A7A721DA}"/>
              </a:ext>
            </a:extLst>
          </p:cNvPr>
          <p:cNvSpPr txBox="1"/>
          <p:nvPr/>
        </p:nvSpPr>
        <p:spPr bwMode="gray">
          <a:xfrm>
            <a:off x="8064802" y="2638539"/>
            <a:ext cx="620828" cy="45720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err="1">
                <a:solidFill>
                  <a:srgbClr val="000000"/>
                </a:solidFill>
                <a:latin typeface="Arial" panose="020B0604020202020204" pitchFamily="34" charset="0"/>
              </a:rPr>
              <a:t>y_res</a:t>
            </a:r>
            <a:endParaRPr lang="en-US" sz="1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6835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2DA648-CBDA-4B1E-A1CB-42681E3F6D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se1: static process comparison with </a:t>
            </a:r>
            <a:r>
              <a:rPr lang="en-US" dirty="0" err="1"/>
              <a:t>sklearn</a:t>
            </a:r>
            <a:r>
              <a:rPr lang="en-US" dirty="0"/>
              <a:t> packag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407AB67-5C63-4297-A0AF-D44FAD01AB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September 201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B6E7EE9-27F7-4F9A-B250-7706DC9D9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21</a:t>
            </a:fld>
            <a:endParaRPr lang="en-US"/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24A30E2C-6B8B-4461-9424-B092CA40AF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5757282"/>
              </p:ext>
            </p:extLst>
          </p:nvPr>
        </p:nvGraphicFramePr>
        <p:xfrm>
          <a:off x="6376649" y="4609391"/>
          <a:ext cx="5584444" cy="140690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96111">
                  <a:extLst>
                    <a:ext uri="{9D8B030D-6E8A-4147-A177-3AD203B41FA5}">
                      <a16:colId xmlns:a16="http://schemas.microsoft.com/office/drawing/2014/main" val="1031651905"/>
                    </a:ext>
                  </a:extLst>
                </a:gridCol>
                <a:gridCol w="1396111">
                  <a:extLst>
                    <a:ext uri="{9D8B030D-6E8A-4147-A177-3AD203B41FA5}">
                      <a16:colId xmlns:a16="http://schemas.microsoft.com/office/drawing/2014/main" val="340025019"/>
                    </a:ext>
                  </a:extLst>
                </a:gridCol>
                <a:gridCol w="1396111">
                  <a:extLst>
                    <a:ext uri="{9D8B030D-6E8A-4147-A177-3AD203B41FA5}">
                      <a16:colId xmlns:a16="http://schemas.microsoft.com/office/drawing/2014/main" val="2851378975"/>
                    </a:ext>
                  </a:extLst>
                </a:gridCol>
                <a:gridCol w="1396111">
                  <a:extLst>
                    <a:ext uri="{9D8B030D-6E8A-4147-A177-3AD203B41FA5}">
                      <a16:colId xmlns:a16="http://schemas.microsoft.com/office/drawing/2014/main" val="1302843106"/>
                    </a:ext>
                  </a:extLst>
                </a:gridCol>
              </a:tblGrid>
              <a:tr h="383411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accent6"/>
                          </a:solidFill>
                        </a:rPr>
                        <a:t>Inner</a:t>
                      </a:r>
                      <a:r>
                        <a:rPr lang="en-US" dirty="0"/>
                        <a:t>- mod coeffici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eature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eature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eature 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919967"/>
                  </a:ext>
                </a:extLst>
              </a:tr>
              <a:tr h="383411">
                <a:tc>
                  <a:txBody>
                    <a:bodyPr/>
                    <a:lstStyle/>
                    <a:p>
                      <a:r>
                        <a:rPr lang="en-US" dirty="0"/>
                        <a:t>alpha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highlight>
                            <a:srgbClr val="FFFF00"/>
                          </a:highlight>
                        </a:rPr>
                        <a:t>0.492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006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141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5471770"/>
                  </a:ext>
                </a:extLst>
              </a:tr>
              <a:tr h="383411">
                <a:tc>
                  <a:txBody>
                    <a:bodyPr/>
                    <a:lstStyle/>
                    <a:p>
                      <a:r>
                        <a:rPr lang="en-US" dirty="0"/>
                        <a:t>alpha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436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00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004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1686710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915AC581-2E6B-445C-9270-BF66C69523AD}"/>
              </a:ext>
            </a:extLst>
          </p:cNvPr>
          <p:cNvSpPr txBox="1"/>
          <p:nvPr/>
        </p:nvSpPr>
        <p:spPr bwMode="gray">
          <a:xfrm>
            <a:off x="2818742" y="6139556"/>
            <a:ext cx="7534436" cy="49680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Coefficient0 &gt;&gt; coefficient1 for each iteration, which implies the input data with lag 1 has little impact in the outer and inner model building.</a:t>
            </a:r>
            <a:endParaRPr lang="en-US" sz="1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2060" name="Picture 12">
            <a:extLst>
              <a:ext uri="{FF2B5EF4-FFF2-40B4-BE49-F238E27FC236}">
                <a16:creationId xmlns:a16="http://schemas.microsoft.com/office/drawing/2014/main" id="{EDD1C86C-5C29-402A-A94B-1B8AB7E088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1820" y="1816655"/>
            <a:ext cx="3524250" cy="2362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E05A39F2-2745-4C55-AD4E-F56000D69D66}"/>
              </a:ext>
            </a:extLst>
          </p:cNvPr>
          <p:cNvSpPr txBox="1"/>
          <p:nvPr/>
        </p:nvSpPr>
        <p:spPr bwMode="gray">
          <a:xfrm>
            <a:off x="47948" y="1249600"/>
            <a:ext cx="554158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ighlight>
                  <a:srgbClr val="FFFF00"/>
                </a:highlight>
              </a:rPr>
              <a:t>Algorithm</a:t>
            </a:r>
            <a:r>
              <a:rPr lang="en-US" dirty="0"/>
              <a:t>: pls = </a:t>
            </a:r>
            <a:r>
              <a:rPr lang="en-US" dirty="0" err="1"/>
              <a:t>PLSRegression</a:t>
            </a:r>
            <a:r>
              <a:rPr lang="en-US" dirty="0"/>
              <a:t>(</a:t>
            </a:r>
            <a:r>
              <a:rPr lang="en-US" dirty="0" err="1"/>
              <a:t>n_components</a:t>
            </a:r>
            <a:r>
              <a:rPr lang="en-US" dirty="0"/>
              <a:t>=3)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E274BB8-7EBC-46CB-984F-E62A82CEB27D}"/>
              </a:ext>
            </a:extLst>
          </p:cNvPr>
          <p:cNvSpPr txBox="1"/>
          <p:nvPr/>
        </p:nvSpPr>
        <p:spPr bwMode="gray">
          <a:xfrm>
            <a:off x="6452983" y="1220339"/>
            <a:ext cx="543177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/>
              <a:t>DiPLS</a:t>
            </a:r>
            <a:r>
              <a:rPr lang="en-US" dirty="0"/>
              <a:t> = </a:t>
            </a:r>
            <a:r>
              <a:rPr lang="en-US" dirty="0" err="1"/>
              <a:t>PLSRegression</a:t>
            </a:r>
            <a:r>
              <a:rPr lang="en-US" dirty="0"/>
              <a:t>(</a:t>
            </a:r>
            <a:r>
              <a:rPr lang="en-US" dirty="0" err="1"/>
              <a:t>n_components</a:t>
            </a:r>
            <a:r>
              <a:rPr lang="en-US" dirty="0"/>
              <a:t>=3, </a:t>
            </a:r>
            <a:r>
              <a:rPr lang="en-US" dirty="0">
                <a:highlight>
                  <a:srgbClr val="FFFF00"/>
                </a:highlight>
              </a:rPr>
              <a:t>lag = 0</a:t>
            </a:r>
            <a:r>
              <a:rPr lang="en-US" dirty="0"/>
              <a:t>)</a:t>
            </a:r>
          </a:p>
        </p:txBody>
      </p:sp>
      <p:pic>
        <p:nvPicPr>
          <p:cNvPr id="2062" name="Picture 14">
            <a:extLst>
              <a:ext uri="{FF2B5EF4-FFF2-40B4-BE49-F238E27FC236}">
                <a16:creationId xmlns:a16="http://schemas.microsoft.com/office/drawing/2014/main" id="{BEE48965-0E06-40BC-8257-A69B8CDD85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5960" y="1883669"/>
            <a:ext cx="3524250" cy="2362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33D9699F-4710-4470-8D1B-386206FE7FC8}"/>
              </a:ext>
            </a:extLst>
          </p:cNvPr>
          <p:cNvSpPr txBox="1"/>
          <p:nvPr/>
        </p:nvSpPr>
        <p:spPr bwMode="gray">
          <a:xfrm>
            <a:off x="392006" y="4292603"/>
            <a:ext cx="5515012" cy="261262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If lag = 1: </a:t>
            </a:r>
            <a:r>
              <a:rPr lang="en-US" sz="1800" b="0" i="0" u="none" baseline="0" dirty="0" err="1">
                <a:solidFill>
                  <a:srgbClr val="000000"/>
                </a:solidFill>
                <a:latin typeface="Arial" panose="020B0604020202020204" pitchFamily="34" charset="0"/>
              </a:rPr>
              <a:t>DiPLS</a:t>
            </a: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</a:p>
        </p:txBody>
      </p:sp>
      <p:graphicFrame>
        <p:nvGraphicFramePr>
          <p:cNvPr id="25" name="Table 9">
            <a:extLst>
              <a:ext uri="{FF2B5EF4-FFF2-40B4-BE49-F238E27FC236}">
                <a16:creationId xmlns:a16="http://schemas.microsoft.com/office/drawing/2014/main" id="{A0D92AFE-6925-473E-A9DB-BD0A852525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5792627"/>
              </p:ext>
            </p:extLst>
          </p:nvPr>
        </p:nvGraphicFramePr>
        <p:xfrm>
          <a:off x="392006" y="4627821"/>
          <a:ext cx="5717620" cy="140690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429405">
                  <a:extLst>
                    <a:ext uri="{9D8B030D-6E8A-4147-A177-3AD203B41FA5}">
                      <a16:colId xmlns:a16="http://schemas.microsoft.com/office/drawing/2014/main" val="1031651905"/>
                    </a:ext>
                  </a:extLst>
                </a:gridCol>
                <a:gridCol w="1429405">
                  <a:extLst>
                    <a:ext uri="{9D8B030D-6E8A-4147-A177-3AD203B41FA5}">
                      <a16:colId xmlns:a16="http://schemas.microsoft.com/office/drawing/2014/main" val="340025019"/>
                    </a:ext>
                  </a:extLst>
                </a:gridCol>
                <a:gridCol w="1429405">
                  <a:extLst>
                    <a:ext uri="{9D8B030D-6E8A-4147-A177-3AD203B41FA5}">
                      <a16:colId xmlns:a16="http://schemas.microsoft.com/office/drawing/2014/main" val="2851378975"/>
                    </a:ext>
                  </a:extLst>
                </a:gridCol>
                <a:gridCol w="1429405">
                  <a:extLst>
                    <a:ext uri="{9D8B030D-6E8A-4147-A177-3AD203B41FA5}">
                      <a16:colId xmlns:a16="http://schemas.microsoft.com/office/drawing/2014/main" val="1302843106"/>
                    </a:ext>
                  </a:extLst>
                </a:gridCol>
              </a:tblGrid>
              <a:tr h="383411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accent6"/>
                          </a:solidFill>
                        </a:rPr>
                        <a:t>Outer</a:t>
                      </a:r>
                      <a:r>
                        <a:rPr lang="en-US" dirty="0"/>
                        <a:t>-mod coeffici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eature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eature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eature 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919967"/>
                  </a:ext>
                </a:extLst>
              </a:tr>
              <a:tr h="383411">
                <a:tc>
                  <a:txBody>
                    <a:bodyPr/>
                    <a:lstStyle/>
                    <a:p>
                      <a:r>
                        <a:rPr lang="en-US" dirty="0"/>
                        <a:t>beta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highlight>
                            <a:srgbClr val="FFFF00"/>
                          </a:highlight>
                        </a:rPr>
                        <a:t>0.9994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9656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9988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5471770"/>
                  </a:ext>
                </a:extLst>
              </a:tr>
              <a:tr h="383411">
                <a:tc>
                  <a:txBody>
                    <a:bodyPr/>
                    <a:lstStyle/>
                    <a:p>
                      <a:r>
                        <a:rPr lang="en-US" dirty="0"/>
                        <a:t>beta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0031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99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0470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1686710"/>
                  </a:ext>
                </a:extLst>
              </a:tr>
            </a:tbl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C52E6EB1-19A8-463C-B41A-2B06FC800D8A}"/>
              </a:ext>
            </a:extLst>
          </p:cNvPr>
          <p:cNvSpPr txBox="1"/>
          <p:nvPr/>
        </p:nvSpPr>
        <p:spPr bwMode="gray">
          <a:xfrm>
            <a:off x="4506070" y="1828765"/>
            <a:ext cx="1661268" cy="951346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R2 = 0.9994</a:t>
            </a:r>
            <a:r>
              <a:rPr lang="en-US" sz="1800" b="0" i="0" u="none" baseline="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1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MSE = 0.000</a:t>
            </a:r>
            <a:r>
              <a:rPr lang="en-US" sz="1800" b="0" i="0" u="none" baseline="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5</a:t>
            </a: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ECB825B-C795-4FEF-A305-62BA2A52BBB0}"/>
              </a:ext>
            </a:extLst>
          </p:cNvPr>
          <p:cNvSpPr txBox="1"/>
          <p:nvPr/>
        </p:nvSpPr>
        <p:spPr bwMode="gray">
          <a:xfrm>
            <a:off x="10299825" y="1883669"/>
            <a:ext cx="1661268" cy="951346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R2 = 0.9994</a:t>
            </a:r>
            <a:r>
              <a:rPr lang="en-US" sz="1800" b="0" i="0" u="none" baseline="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8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MSE = 0.000</a:t>
            </a:r>
            <a:r>
              <a:rPr lang="en-US" sz="1800" b="0" i="0" u="none" baseline="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4</a:t>
            </a: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6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27C98BA-607A-430A-AF7D-7D180B23A609}"/>
              </a:ext>
            </a:extLst>
          </p:cNvPr>
          <p:cNvSpPr txBox="1"/>
          <p:nvPr/>
        </p:nvSpPr>
        <p:spPr bwMode="gray">
          <a:xfrm>
            <a:off x="847388" y="2792629"/>
            <a:ext cx="237810" cy="45720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F77A968-3621-44F8-9E25-17F229C60547}"/>
              </a:ext>
            </a:extLst>
          </p:cNvPr>
          <p:cNvSpPr txBox="1"/>
          <p:nvPr/>
        </p:nvSpPr>
        <p:spPr bwMode="gray">
          <a:xfrm>
            <a:off x="6391618" y="2836169"/>
            <a:ext cx="237810" cy="45720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y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3E7886F-4B73-454C-A93E-DF07F4010547}"/>
              </a:ext>
            </a:extLst>
          </p:cNvPr>
          <p:cNvSpPr txBox="1"/>
          <p:nvPr/>
        </p:nvSpPr>
        <p:spPr bwMode="gray">
          <a:xfrm>
            <a:off x="2594624" y="4173922"/>
            <a:ext cx="825190" cy="29208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t</a:t>
            </a: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rial #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820FF3F-B6EC-4782-932C-454357FBA736}"/>
              </a:ext>
            </a:extLst>
          </p:cNvPr>
          <p:cNvSpPr txBox="1"/>
          <p:nvPr/>
        </p:nvSpPr>
        <p:spPr bwMode="gray">
          <a:xfrm>
            <a:off x="8358005" y="4194047"/>
            <a:ext cx="825190" cy="29208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t</a:t>
            </a: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rial #</a:t>
            </a:r>
          </a:p>
        </p:txBody>
      </p:sp>
    </p:spTree>
    <p:extLst>
      <p:ext uri="{BB962C8B-B14F-4D97-AF65-F5344CB8AC3E}">
        <p14:creationId xmlns:p14="http://schemas.microsoft.com/office/powerpoint/2010/main" val="1384986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DFA53D4A-C878-4B4F-A190-CBC44CDE2065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/>
              <a:t>How many components and lags are needed?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D2DA648-CBDA-4B1E-A1CB-42681E3F6D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ameter Tunning for </a:t>
            </a:r>
            <a:r>
              <a:rPr lang="en-US" dirty="0" err="1"/>
              <a:t>DiPLS</a:t>
            </a:r>
            <a:r>
              <a:rPr lang="en-US" dirty="0"/>
              <a:t>: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407AB67-5C63-4297-A0AF-D44FAD01AB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September 201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B6E7EE9-27F7-4F9A-B250-7706DC9D9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22</a:t>
            </a:fld>
            <a:endParaRPr lang="en-US"/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43CEAD9A-70C6-4EF4-8958-FBFE19A13E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1820" y="2066938"/>
            <a:ext cx="2533650" cy="2524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>
            <a:extLst>
              <a:ext uri="{FF2B5EF4-FFF2-40B4-BE49-F238E27FC236}">
                <a16:creationId xmlns:a16="http://schemas.microsoft.com/office/drawing/2014/main" id="{2DA42110-4312-41D3-9741-84485EE125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4847" y="2029015"/>
            <a:ext cx="2533650" cy="2524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79E5A08-1F0B-474A-AFB5-4E761B5DF328}"/>
              </a:ext>
            </a:extLst>
          </p:cNvPr>
          <p:cNvSpPr txBox="1"/>
          <p:nvPr/>
        </p:nvSpPr>
        <p:spPr bwMode="gray">
          <a:xfrm>
            <a:off x="7139708" y="1590927"/>
            <a:ext cx="3943928" cy="40563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Method 2: 5-fold Cross Validati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AED4A48-47D3-4C83-8286-07CC57826B7D}"/>
              </a:ext>
            </a:extLst>
          </p:cNvPr>
          <p:cNvSpPr txBox="1"/>
          <p:nvPr/>
        </p:nvSpPr>
        <p:spPr bwMode="gray">
          <a:xfrm>
            <a:off x="981820" y="1590927"/>
            <a:ext cx="3103487" cy="792236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Method 1: Directly calculate 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v</a:t>
            </a: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alidation se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F2C3EE0-1707-464B-A13E-592180F4F07B}"/>
              </a:ext>
            </a:extLst>
          </p:cNvPr>
          <p:cNvSpPr txBox="1"/>
          <p:nvPr/>
        </p:nvSpPr>
        <p:spPr bwMode="gray">
          <a:xfrm>
            <a:off x="1163273" y="4451949"/>
            <a:ext cx="886691" cy="49825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lag</a:t>
            </a: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 = 0</a:t>
            </a:r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47DF913A-1F17-4277-AF7D-0973C6E26E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1719" y="4758120"/>
            <a:ext cx="3001455" cy="18749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C4E66CC4-E5D2-468F-997D-8A3976356E0C}"/>
              </a:ext>
            </a:extLst>
          </p:cNvPr>
          <p:cNvSpPr txBox="1"/>
          <p:nvPr/>
        </p:nvSpPr>
        <p:spPr bwMode="gray">
          <a:xfrm>
            <a:off x="3416839" y="4450688"/>
            <a:ext cx="2191492" cy="49825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 # of Component = 3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89BE5C6-8A30-4A0E-B704-6CFFBFB18C72}"/>
              </a:ext>
            </a:extLst>
          </p:cNvPr>
          <p:cNvSpPr txBox="1"/>
          <p:nvPr/>
        </p:nvSpPr>
        <p:spPr bwMode="gray">
          <a:xfrm>
            <a:off x="7079186" y="4429047"/>
            <a:ext cx="886691" cy="49825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lag</a:t>
            </a: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 = 0</a:t>
            </a:r>
          </a:p>
        </p:txBody>
      </p:sp>
      <p:pic>
        <p:nvPicPr>
          <p:cNvPr id="7172" name="Picture 4">
            <a:extLst>
              <a:ext uri="{FF2B5EF4-FFF2-40B4-BE49-F238E27FC236}">
                <a16:creationId xmlns:a16="http://schemas.microsoft.com/office/drawing/2014/main" id="{9D087338-0AEE-4A54-8CBE-D8040F7A97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0964" y="4710559"/>
            <a:ext cx="2949449" cy="18424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85FA4CF1-AD75-469B-AD16-277E089A25CC}"/>
              </a:ext>
            </a:extLst>
          </p:cNvPr>
          <p:cNvSpPr txBox="1"/>
          <p:nvPr/>
        </p:nvSpPr>
        <p:spPr bwMode="gray">
          <a:xfrm>
            <a:off x="9776097" y="4427598"/>
            <a:ext cx="2191492" cy="49825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 # of Component = 3</a:t>
            </a:r>
          </a:p>
        </p:txBody>
      </p:sp>
      <p:pic>
        <p:nvPicPr>
          <p:cNvPr id="7174" name="Picture 6">
            <a:extLst>
              <a:ext uri="{FF2B5EF4-FFF2-40B4-BE49-F238E27FC236}">
                <a16:creationId xmlns:a16="http://schemas.microsoft.com/office/drawing/2014/main" id="{842BB3FB-20C8-4FE0-80AE-700969D6A5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73" y="4758120"/>
            <a:ext cx="3003211" cy="18760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6" name="Picture 8">
            <a:extLst>
              <a:ext uri="{FF2B5EF4-FFF2-40B4-BE49-F238E27FC236}">
                <a16:creationId xmlns:a16="http://schemas.microsoft.com/office/drawing/2014/main" id="{29CAF4E1-DC61-499F-832A-7B7B55E030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7240" y="4731367"/>
            <a:ext cx="3001455" cy="18749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Oval 18">
            <a:extLst>
              <a:ext uri="{FF2B5EF4-FFF2-40B4-BE49-F238E27FC236}">
                <a16:creationId xmlns:a16="http://schemas.microsoft.com/office/drawing/2014/main" id="{D2CC6A39-F90F-44C1-BBE4-3E10CA736AD2}"/>
              </a:ext>
            </a:extLst>
          </p:cNvPr>
          <p:cNvSpPr/>
          <p:nvPr/>
        </p:nvSpPr>
        <p:spPr bwMode="gray">
          <a:xfrm>
            <a:off x="2101003" y="6086407"/>
            <a:ext cx="498763" cy="612173"/>
          </a:xfrm>
          <a:prstGeom prst="ellipse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7CC97522-A1AA-4491-AF83-B45C25EDADBB}"/>
              </a:ext>
            </a:extLst>
          </p:cNvPr>
          <p:cNvSpPr/>
          <p:nvPr/>
        </p:nvSpPr>
        <p:spPr bwMode="gray">
          <a:xfrm>
            <a:off x="3315783" y="6021459"/>
            <a:ext cx="498763" cy="612173"/>
          </a:xfrm>
          <a:prstGeom prst="ellipse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6A6D8126-0160-46D4-9885-1D4AD2D03D47}"/>
              </a:ext>
            </a:extLst>
          </p:cNvPr>
          <p:cNvSpPr/>
          <p:nvPr/>
        </p:nvSpPr>
        <p:spPr bwMode="gray">
          <a:xfrm>
            <a:off x="8220094" y="6113760"/>
            <a:ext cx="498763" cy="612173"/>
          </a:xfrm>
          <a:prstGeom prst="ellipse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D63E4290-A8B6-495F-BFDB-6CD6A1B7966B}"/>
              </a:ext>
            </a:extLst>
          </p:cNvPr>
          <p:cNvSpPr/>
          <p:nvPr/>
        </p:nvSpPr>
        <p:spPr bwMode="gray">
          <a:xfrm>
            <a:off x="9503549" y="6098282"/>
            <a:ext cx="498763" cy="612173"/>
          </a:xfrm>
          <a:prstGeom prst="ellipse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7AF0E81-680C-43D7-960B-8224A2470F1D}"/>
              </a:ext>
            </a:extLst>
          </p:cNvPr>
          <p:cNvSpPr txBox="1"/>
          <p:nvPr/>
        </p:nvSpPr>
        <p:spPr bwMode="gray">
          <a:xfrm>
            <a:off x="54207" y="4450688"/>
            <a:ext cx="566130" cy="307432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MSE</a:t>
            </a:r>
            <a:endParaRPr lang="en-US" sz="1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9413C34-DBB0-477E-B78F-A00381E6C18C}"/>
              </a:ext>
            </a:extLst>
          </p:cNvPr>
          <p:cNvSpPr txBox="1"/>
          <p:nvPr/>
        </p:nvSpPr>
        <p:spPr bwMode="gray">
          <a:xfrm>
            <a:off x="6215998" y="4442709"/>
            <a:ext cx="526547" cy="25200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MSE</a:t>
            </a:r>
          </a:p>
        </p:txBody>
      </p:sp>
    </p:spTree>
    <p:extLst>
      <p:ext uri="{BB962C8B-B14F-4D97-AF65-F5344CB8AC3E}">
        <p14:creationId xmlns:p14="http://schemas.microsoft.com/office/powerpoint/2010/main" val="2355355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48C75561-6334-476D-9124-96441C666A0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981820" y="1124770"/>
            <a:ext cx="10798461" cy="252000"/>
          </a:xfrm>
        </p:spPr>
        <p:txBody>
          <a:bodyPr/>
          <a:lstStyle/>
          <a:p>
            <a:r>
              <a:rPr lang="en-US" dirty="0"/>
              <a:t>t(k)= A1*t(k-1)+A2*t(k-2)	</a:t>
            </a:r>
            <a:r>
              <a:rPr lang="en-US" dirty="0" err="1"/>
              <a:t>Cov</a:t>
            </a:r>
            <a:r>
              <a:rPr lang="en-US" dirty="0"/>
              <a:t>(X1,X2) != 0, but </a:t>
            </a:r>
            <a:r>
              <a:rPr lang="en-US" dirty="0" err="1"/>
              <a:t>Cov</a:t>
            </a:r>
            <a:r>
              <a:rPr lang="en-US" dirty="0"/>
              <a:t>(X,Y) = 0 this means s = 0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92061D4-9269-484D-B028-F826DFD199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se study 2: Dynamic process for X, but static process for Y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54CF519-5A5A-4B6C-B354-8A9FADA9A9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September 201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4A220B0-500B-499B-A376-F05ABB2F3C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23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13FAD25-6746-418C-8F15-DC93CE6B1B58}"/>
              </a:ext>
            </a:extLst>
          </p:cNvPr>
          <p:cNvSpPr txBox="1"/>
          <p:nvPr/>
        </p:nvSpPr>
        <p:spPr bwMode="gray">
          <a:xfrm>
            <a:off x="974672" y="1505944"/>
            <a:ext cx="3524249" cy="29208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1st</a:t>
            </a: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 component for the original data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DD75FCF-242F-411A-BBDF-12C045D380DA}"/>
              </a:ext>
            </a:extLst>
          </p:cNvPr>
          <p:cNvSpPr txBox="1"/>
          <p:nvPr/>
        </p:nvSpPr>
        <p:spPr bwMode="gray">
          <a:xfrm>
            <a:off x="4782869" y="1513728"/>
            <a:ext cx="3676650" cy="3476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2nd</a:t>
            </a: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 component for the residual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BEAE80C-81B5-4D4F-89C1-9C2048044EA8}"/>
              </a:ext>
            </a:extLst>
          </p:cNvPr>
          <p:cNvSpPr txBox="1"/>
          <p:nvPr/>
        </p:nvSpPr>
        <p:spPr bwMode="gray">
          <a:xfrm>
            <a:off x="107878" y="1349474"/>
            <a:ext cx="960582" cy="37869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Training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3A5E372-73F9-46E4-963F-B5B45E5B8589}"/>
              </a:ext>
            </a:extLst>
          </p:cNvPr>
          <p:cNvSpPr txBox="1"/>
          <p:nvPr/>
        </p:nvSpPr>
        <p:spPr bwMode="gray">
          <a:xfrm>
            <a:off x="8269034" y="1505944"/>
            <a:ext cx="4108016" cy="39305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3rd component for leftover white nois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280AC70-28F2-4977-B2CB-41D479DB1A63}"/>
              </a:ext>
            </a:extLst>
          </p:cNvPr>
          <p:cNvSpPr txBox="1"/>
          <p:nvPr/>
        </p:nvSpPr>
        <p:spPr bwMode="gray">
          <a:xfrm>
            <a:off x="107878" y="4232470"/>
            <a:ext cx="960582" cy="37869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Testing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467548B-04A7-4360-A0C3-2FAF91187972}"/>
              </a:ext>
            </a:extLst>
          </p:cNvPr>
          <p:cNvSpPr txBox="1"/>
          <p:nvPr/>
        </p:nvSpPr>
        <p:spPr bwMode="gray">
          <a:xfrm>
            <a:off x="1672018" y="6302307"/>
            <a:ext cx="2428928" cy="214656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MES for Y: </a:t>
            </a: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 0.0043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6980F78-748F-4344-9C71-5E7A4DBCE6D0}"/>
              </a:ext>
            </a:extLst>
          </p:cNvPr>
          <p:cNvSpPr txBox="1"/>
          <p:nvPr/>
        </p:nvSpPr>
        <p:spPr bwMode="gray">
          <a:xfrm>
            <a:off x="5325003" y="6306927"/>
            <a:ext cx="2428928" cy="214656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MES for Y: </a:t>
            </a: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 0.00032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4894423-A547-48F1-B0CC-EA65AAC8A25E}"/>
              </a:ext>
            </a:extLst>
          </p:cNvPr>
          <p:cNvSpPr txBox="1"/>
          <p:nvPr/>
        </p:nvSpPr>
        <p:spPr bwMode="gray">
          <a:xfrm>
            <a:off x="9208899" y="6302307"/>
            <a:ext cx="2428928" cy="214656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MES for Y: </a:t>
            </a: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 0.00023</a:t>
            </a:r>
          </a:p>
        </p:txBody>
      </p:sp>
      <p:pic>
        <p:nvPicPr>
          <p:cNvPr id="4100" name="Picture 4">
            <a:extLst>
              <a:ext uri="{FF2B5EF4-FFF2-40B4-BE49-F238E27FC236}">
                <a16:creationId xmlns:a16="http://schemas.microsoft.com/office/drawing/2014/main" id="{7294BFDC-DE34-4D5D-B869-535580DD29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233" y="1739083"/>
            <a:ext cx="3167916" cy="2123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>
            <a:extLst>
              <a:ext uri="{FF2B5EF4-FFF2-40B4-BE49-F238E27FC236}">
                <a16:creationId xmlns:a16="http://schemas.microsoft.com/office/drawing/2014/main" id="{C8220CD2-410A-43F7-B7AB-A633DB6DB4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6330" y="1836776"/>
            <a:ext cx="3260748" cy="2094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4" name="Picture 8">
            <a:extLst>
              <a:ext uri="{FF2B5EF4-FFF2-40B4-BE49-F238E27FC236}">
                <a16:creationId xmlns:a16="http://schemas.microsoft.com/office/drawing/2014/main" id="{6364E36F-951F-4490-9C4F-4918A689CE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1486" y="1836776"/>
            <a:ext cx="3409208" cy="2190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4" name="Picture 18">
            <a:extLst>
              <a:ext uri="{FF2B5EF4-FFF2-40B4-BE49-F238E27FC236}">
                <a16:creationId xmlns:a16="http://schemas.microsoft.com/office/drawing/2014/main" id="{857D0F42-EB5A-48E3-9ED5-3FA1DADDBA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01171" y="4222489"/>
            <a:ext cx="3179523" cy="21311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6" name="Picture 20">
            <a:extLst>
              <a:ext uri="{FF2B5EF4-FFF2-40B4-BE49-F238E27FC236}">
                <a16:creationId xmlns:a16="http://schemas.microsoft.com/office/drawing/2014/main" id="{10BE08E4-598F-4324-AB19-1BA634EAB1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2958" y="4194563"/>
            <a:ext cx="3169226" cy="2124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8" name="Picture 22">
            <a:extLst>
              <a:ext uri="{FF2B5EF4-FFF2-40B4-BE49-F238E27FC236}">
                <a16:creationId xmlns:a16="http://schemas.microsoft.com/office/drawing/2014/main" id="{62C6C7AE-3E64-4F12-9FFA-75B189067E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0030" y="4178069"/>
            <a:ext cx="3169226" cy="2124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9A04BE4B-9E57-46A2-87F0-B74FB5786795}"/>
              </a:ext>
            </a:extLst>
          </p:cNvPr>
          <p:cNvSpPr txBox="1"/>
          <p:nvPr/>
        </p:nvSpPr>
        <p:spPr bwMode="gray">
          <a:xfrm>
            <a:off x="852355" y="2663153"/>
            <a:ext cx="237810" cy="45720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AE7157F-300E-47C0-AAC1-4F8D8F808665}"/>
              </a:ext>
            </a:extLst>
          </p:cNvPr>
          <p:cNvSpPr txBox="1"/>
          <p:nvPr/>
        </p:nvSpPr>
        <p:spPr bwMode="gray">
          <a:xfrm>
            <a:off x="852355" y="5157733"/>
            <a:ext cx="237810" cy="45720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41740A4-DF6C-455B-A55D-588DB7C8D45F}"/>
              </a:ext>
            </a:extLst>
          </p:cNvPr>
          <p:cNvSpPr txBox="1"/>
          <p:nvPr/>
        </p:nvSpPr>
        <p:spPr bwMode="gray">
          <a:xfrm>
            <a:off x="4502623" y="5157733"/>
            <a:ext cx="237810" cy="45720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y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1645FB7-F425-4AA1-A7C6-D0BC96901927}"/>
              </a:ext>
            </a:extLst>
          </p:cNvPr>
          <p:cNvSpPr txBox="1"/>
          <p:nvPr/>
        </p:nvSpPr>
        <p:spPr bwMode="gray">
          <a:xfrm>
            <a:off x="8434196" y="5240188"/>
            <a:ext cx="237810" cy="45720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y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34345E9-234C-4F83-AECB-B059D8B40534}"/>
              </a:ext>
            </a:extLst>
          </p:cNvPr>
          <p:cNvSpPr txBox="1"/>
          <p:nvPr/>
        </p:nvSpPr>
        <p:spPr bwMode="gray">
          <a:xfrm>
            <a:off x="2427541" y="3865620"/>
            <a:ext cx="825190" cy="29208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t</a:t>
            </a: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rial #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2605655-D2B8-4A41-81E3-2A2A13FAF803}"/>
              </a:ext>
            </a:extLst>
          </p:cNvPr>
          <p:cNvSpPr txBox="1"/>
          <p:nvPr/>
        </p:nvSpPr>
        <p:spPr bwMode="gray">
          <a:xfrm>
            <a:off x="6095206" y="3915898"/>
            <a:ext cx="825190" cy="29208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t</a:t>
            </a: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rial #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EB88989-A8CF-4DCE-A952-A40A4D9B2D0B}"/>
              </a:ext>
            </a:extLst>
          </p:cNvPr>
          <p:cNvSpPr txBox="1"/>
          <p:nvPr/>
        </p:nvSpPr>
        <p:spPr bwMode="gray">
          <a:xfrm>
            <a:off x="10010768" y="3953908"/>
            <a:ext cx="825190" cy="29208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t</a:t>
            </a: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rial #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D08807F-9F22-46F7-8088-A4D4964C2BC0}"/>
              </a:ext>
            </a:extLst>
          </p:cNvPr>
          <p:cNvSpPr txBox="1"/>
          <p:nvPr/>
        </p:nvSpPr>
        <p:spPr bwMode="gray">
          <a:xfrm>
            <a:off x="4114328" y="2675808"/>
            <a:ext cx="620828" cy="45720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err="1">
                <a:solidFill>
                  <a:srgbClr val="000000"/>
                </a:solidFill>
                <a:latin typeface="Arial" panose="020B0604020202020204" pitchFamily="34" charset="0"/>
              </a:rPr>
              <a:t>y_res</a:t>
            </a:r>
            <a:endParaRPr lang="en-US" sz="1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F646145-9BCF-4409-82AA-8EBC2C8FBD53}"/>
              </a:ext>
            </a:extLst>
          </p:cNvPr>
          <p:cNvSpPr txBox="1"/>
          <p:nvPr/>
        </p:nvSpPr>
        <p:spPr bwMode="gray">
          <a:xfrm>
            <a:off x="7963774" y="2738402"/>
            <a:ext cx="620828" cy="45720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err="1">
                <a:solidFill>
                  <a:srgbClr val="000000"/>
                </a:solidFill>
                <a:latin typeface="Arial" panose="020B0604020202020204" pitchFamily="34" charset="0"/>
              </a:rPr>
              <a:t>y_res</a:t>
            </a:r>
            <a:endParaRPr lang="en-US" sz="1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9405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DFA53D4A-C878-4B4F-A190-CBC44CDE2065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/>
              <a:t>Still a “Static process”: time lag = 0, so no lagging terms =&gt;  equivalent to PLS modeling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D2DA648-CBDA-4B1E-A1CB-42681E3F6D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se2: comparison with </a:t>
            </a:r>
            <a:r>
              <a:rPr lang="en-US" dirty="0" err="1"/>
              <a:t>sklearn</a:t>
            </a:r>
            <a:r>
              <a:rPr lang="en-US" dirty="0"/>
              <a:t> packag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407AB67-5C63-4297-A0AF-D44FAD01AB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September 201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B6E7EE9-27F7-4F9A-B250-7706DC9D9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24</a:t>
            </a:fld>
            <a:endParaRPr lang="en-US"/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24A30E2C-6B8B-4461-9424-B092CA40AF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1596819"/>
              </p:ext>
            </p:extLst>
          </p:nvPr>
        </p:nvGraphicFramePr>
        <p:xfrm>
          <a:off x="6376649" y="4609391"/>
          <a:ext cx="5584444" cy="140690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96111">
                  <a:extLst>
                    <a:ext uri="{9D8B030D-6E8A-4147-A177-3AD203B41FA5}">
                      <a16:colId xmlns:a16="http://schemas.microsoft.com/office/drawing/2014/main" val="1031651905"/>
                    </a:ext>
                  </a:extLst>
                </a:gridCol>
                <a:gridCol w="1396111">
                  <a:extLst>
                    <a:ext uri="{9D8B030D-6E8A-4147-A177-3AD203B41FA5}">
                      <a16:colId xmlns:a16="http://schemas.microsoft.com/office/drawing/2014/main" val="340025019"/>
                    </a:ext>
                  </a:extLst>
                </a:gridCol>
                <a:gridCol w="1396111">
                  <a:extLst>
                    <a:ext uri="{9D8B030D-6E8A-4147-A177-3AD203B41FA5}">
                      <a16:colId xmlns:a16="http://schemas.microsoft.com/office/drawing/2014/main" val="2851378975"/>
                    </a:ext>
                  </a:extLst>
                </a:gridCol>
                <a:gridCol w="1396111">
                  <a:extLst>
                    <a:ext uri="{9D8B030D-6E8A-4147-A177-3AD203B41FA5}">
                      <a16:colId xmlns:a16="http://schemas.microsoft.com/office/drawing/2014/main" val="1302843106"/>
                    </a:ext>
                  </a:extLst>
                </a:gridCol>
              </a:tblGrid>
              <a:tr h="383411">
                <a:tc>
                  <a:txBody>
                    <a:bodyPr/>
                    <a:lstStyle/>
                    <a:p>
                      <a:r>
                        <a:rPr lang="en-US" dirty="0"/>
                        <a:t>Inner- mod coeffici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eature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eature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eature 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919967"/>
                  </a:ext>
                </a:extLst>
              </a:tr>
              <a:tr h="383411">
                <a:tc>
                  <a:txBody>
                    <a:bodyPr/>
                    <a:lstStyle/>
                    <a:p>
                      <a:r>
                        <a:rPr lang="en-US" dirty="0"/>
                        <a:t>alpha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highlight>
                            <a:srgbClr val="FFFF00"/>
                          </a:highlight>
                        </a:rPr>
                        <a:t>0.5482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003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013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5471770"/>
                  </a:ext>
                </a:extLst>
              </a:tr>
              <a:tr h="383411">
                <a:tc>
                  <a:txBody>
                    <a:bodyPr/>
                    <a:lstStyle/>
                    <a:p>
                      <a:r>
                        <a:rPr lang="en-US" dirty="0"/>
                        <a:t>alpha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0034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000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00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1686710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915AC581-2E6B-445C-9270-BF66C69523AD}"/>
              </a:ext>
            </a:extLst>
          </p:cNvPr>
          <p:cNvSpPr txBox="1"/>
          <p:nvPr/>
        </p:nvSpPr>
        <p:spPr bwMode="gray">
          <a:xfrm>
            <a:off x="2818742" y="6139556"/>
            <a:ext cx="7534436" cy="49680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Coefficient0 &gt;&gt; coefficient1 for each iteration, which implies the input data with lag 1 has little impact in the outer and inner model building.</a:t>
            </a:r>
            <a:endParaRPr lang="en-US" sz="1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05A39F2-2745-4C55-AD4E-F56000D69D66}"/>
              </a:ext>
            </a:extLst>
          </p:cNvPr>
          <p:cNvSpPr txBox="1"/>
          <p:nvPr/>
        </p:nvSpPr>
        <p:spPr bwMode="gray">
          <a:xfrm>
            <a:off x="877455" y="1437395"/>
            <a:ext cx="4287849" cy="3792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pls = </a:t>
            </a:r>
            <a:r>
              <a:rPr lang="en-US" dirty="0" err="1"/>
              <a:t>PLSRegression</a:t>
            </a:r>
            <a:r>
              <a:rPr lang="en-US" dirty="0"/>
              <a:t>(</a:t>
            </a:r>
            <a:r>
              <a:rPr lang="en-US" dirty="0" err="1"/>
              <a:t>n_components</a:t>
            </a:r>
            <a:r>
              <a:rPr lang="en-US" dirty="0"/>
              <a:t>=3)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E274BB8-7EBC-46CB-984F-E62A82CEB27D}"/>
              </a:ext>
            </a:extLst>
          </p:cNvPr>
          <p:cNvSpPr txBox="1"/>
          <p:nvPr/>
        </p:nvSpPr>
        <p:spPr bwMode="gray">
          <a:xfrm>
            <a:off x="6095206" y="1454739"/>
            <a:ext cx="617992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/>
              <a:t>DiPLS</a:t>
            </a:r>
            <a:r>
              <a:rPr lang="en-US" dirty="0"/>
              <a:t> = </a:t>
            </a:r>
            <a:r>
              <a:rPr lang="en-US" dirty="0" err="1"/>
              <a:t>DiPLSRegression</a:t>
            </a:r>
            <a:r>
              <a:rPr lang="en-US" dirty="0"/>
              <a:t>(</a:t>
            </a:r>
            <a:r>
              <a:rPr lang="en-US" dirty="0" err="1"/>
              <a:t>n_components</a:t>
            </a:r>
            <a:r>
              <a:rPr lang="en-US" dirty="0"/>
              <a:t>=3, time lag = 0)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3D9699F-4710-4470-8D1B-386206FE7FC8}"/>
              </a:ext>
            </a:extLst>
          </p:cNvPr>
          <p:cNvSpPr txBox="1"/>
          <p:nvPr/>
        </p:nvSpPr>
        <p:spPr bwMode="gray">
          <a:xfrm>
            <a:off x="966293" y="4263492"/>
            <a:ext cx="5515012" cy="261262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If time lag = 1:</a:t>
            </a:r>
          </a:p>
        </p:txBody>
      </p:sp>
      <p:graphicFrame>
        <p:nvGraphicFramePr>
          <p:cNvPr id="25" name="Table 9">
            <a:extLst>
              <a:ext uri="{FF2B5EF4-FFF2-40B4-BE49-F238E27FC236}">
                <a16:creationId xmlns:a16="http://schemas.microsoft.com/office/drawing/2014/main" id="{A0D92AFE-6925-473E-A9DB-BD0A852525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5666226"/>
              </p:ext>
            </p:extLst>
          </p:nvPr>
        </p:nvGraphicFramePr>
        <p:xfrm>
          <a:off x="392006" y="4627821"/>
          <a:ext cx="5717620" cy="140690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429405">
                  <a:extLst>
                    <a:ext uri="{9D8B030D-6E8A-4147-A177-3AD203B41FA5}">
                      <a16:colId xmlns:a16="http://schemas.microsoft.com/office/drawing/2014/main" val="1031651905"/>
                    </a:ext>
                  </a:extLst>
                </a:gridCol>
                <a:gridCol w="1429405">
                  <a:extLst>
                    <a:ext uri="{9D8B030D-6E8A-4147-A177-3AD203B41FA5}">
                      <a16:colId xmlns:a16="http://schemas.microsoft.com/office/drawing/2014/main" val="340025019"/>
                    </a:ext>
                  </a:extLst>
                </a:gridCol>
                <a:gridCol w="1429405">
                  <a:extLst>
                    <a:ext uri="{9D8B030D-6E8A-4147-A177-3AD203B41FA5}">
                      <a16:colId xmlns:a16="http://schemas.microsoft.com/office/drawing/2014/main" val="2851378975"/>
                    </a:ext>
                  </a:extLst>
                </a:gridCol>
                <a:gridCol w="1429405">
                  <a:extLst>
                    <a:ext uri="{9D8B030D-6E8A-4147-A177-3AD203B41FA5}">
                      <a16:colId xmlns:a16="http://schemas.microsoft.com/office/drawing/2014/main" val="1302843106"/>
                    </a:ext>
                  </a:extLst>
                </a:gridCol>
              </a:tblGrid>
              <a:tr h="383411">
                <a:tc>
                  <a:txBody>
                    <a:bodyPr/>
                    <a:lstStyle/>
                    <a:p>
                      <a:r>
                        <a:rPr lang="en-US" dirty="0"/>
                        <a:t>Outer-mod coeffici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eature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eature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eature 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919967"/>
                  </a:ext>
                </a:extLst>
              </a:tr>
              <a:tr h="383411">
                <a:tc>
                  <a:txBody>
                    <a:bodyPr/>
                    <a:lstStyle/>
                    <a:p>
                      <a:r>
                        <a:rPr lang="en-US" dirty="0"/>
                        <a:t>beta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highlight>
                            <a:srgbClr val="FFFF00"/>
                          </a:highlight>
                        </a:rPr>
                        <a:t>0.9721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9477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9138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5471770"/>
                  </a:ext>
                </a:extLst>
              </a:tr>
              <a:tr h="383411">
                <a:tc>
                  <a:txBody>
                    <a:bodyPr/>
                    <a:lstStyle/>
                    <a:p>
                      <a:r>
                        <a:rPr lang="en-US" dirty="0"/>
                        <a:t>beta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234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3193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406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1686710"/>
                  </a:ext>
                </a:extLst>
              </a:tr>
            </a:tbl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C52E6EB1-19A8-463C-B41A-2B06FC800D8A}"/>
              </a:ext>
            </a:extLst>
          </p:cNvPr>
          <p:cNvSpPr txBox="1"/>
          <p:nvPr/>
        </p:nvSpPr>
        <p:spPr bwMode="gray">
          <a:xfrm>
            <a:off x="4715381" y="1894714"/>
            <a:ext cx="1765924" cy="951346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R2 = 0.99977</a:t>
            </a:r>
            <a:r>
              <a:rPr lang="en-US" sz="1800" b="0" i="0" u="none" baseline="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2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MSE = 0.00024</a:t>
            </a:r>
            <a:r>
              <a:rPr lang="en-US" sz="1800" b="0" i="0" u="none" baseline="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ECB825B-C795-4FEF-A305-62BA2A52BBB0}"/>
              </a:ext>
            </a:extLst>
          </p:cNvPr>
          <p:cNvSpPr txBox="1"/>
          <p:nvPr/>
        </p:nvSpPr>
        <p:spPr bwMode="gray">
          <a:xfrm>
            <a:off x="10056432" y="1874407"/>
            <a:ext cx="1754677" cy="951346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R2 = 0.99977</a:t>
            </a:r>
            <a:r>
              <a:rPr lang="en-US" sz="1800" b="0" i="0" u="none" baseline="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6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MSE = 0.00024</a:t>
            </a:r>
            <a:r>
              <a:rPr lang="en-US" sz="1800" b="0" i="0" u="none" baseline="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1</a:t>
            </a:r>
          </a:p>
        </p:txBody>
      </p:sp>
      <p:pic>
        <p:nvPicPr>
          <p:cNvPr id="5124" name="Picture 4">
            <a:extLst>
              <a:ext uri="{FF2B5EF4-FFF2-40B4-BE49-F238E27FC236}">
                <a16:creationId xmlns:a16="http://schemas.microsoft.com/office/drawing/2014/main" id="{9E60B492-0996-4CE8-BE93-8860189EC6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1305" y="1788855"/>
            <a:ext cx="3524250" cy="2362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6" name="Picture 6">
            <a:extLst>
              <a:ext uri="{FF2B5EF4-FFF2-40B4-BE49-F238E27FC236}">
                <a16:creationId xmlns:a16="http://schemas.microsoft.com/office/drawing/2014/main" id="{5030A229-B91D-42D6-9128-8A6F6527E3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3363" y="1796459"/>
            <a:ext cx="3524250" cy="2362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86399145-F2A2-44A8-8A7F-38C4D8383E67}"/>
              </a:ext>
            </a:extLst>
          </p:cNvPr>
          <p:cNvSpPr txBox="1"/>
          <p:nvPr/>
        </p:nvSpPr>
        <p:spPr bwMode="gray">
          <a:xfrm>
            <a:off x="2608784" y="4096551"/>
            <a:ext cx="825190" cy="29208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t</a:t>
            </a: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rial #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A12445C-6147-41FF-A8A8-6CF76DF19AAB}"/>
              </a:ext>
            </a:extLst>
          </p:cNvPr>
          <p:cNvSpPr txBox="1"/>
          <p:nvPr/>
        </p:nvSpPr>
        <p:spPr bwMode="gray">
          <a:xfrm>
            <a:off x="8123796" y="4120462"/>
            <a:ext cx="825190" cy="29208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t</a:t>
            </a: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rial #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84FE426-1D80-47D9-9AC8-8BF045E44E46}"/>
              </a:ext>
            </a:extLst>
          </p:cNvPr>
          <p:cNvSpPr txBox="1"/>
          <p:nvPr/>
        </p:nvSpPr>
        <p:spPr bwMode="gray">
          <a:xfrm>
            <a:off x="1034458" y="2884962"/>
            <a:ext cx="237810" cy="45720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y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A52B6ED-41F1-4AFE-A73D-2863A91806F7}"/>
              </a:ext>
            </a:extLst>
          </p:cNvPr>
          <p:cNvSpPr txBox="1"/>
          <p:nvPr/>
        </p:nvSpPr>
        <p:spPr bwMode="gray">
          <a:xfrm>
            <a:off x="6430428" y="2884962"/>
            <a:ext cx="237810" cy="45720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y</a:t>
            </a:r>
          </a:p>
        </p:txBody>
      </p:sp>
    </p:spTree>
    <p:extLst>
      <p:ext uri="{BB962C8B-B14F-4D97-AF65-F5344CB8AC3E}">
        <p14:creationId xmlns:p14="http://schemas.microsoft.com/office/powerpoint/2010/main" val="3733816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DFA53D4A-C878-4B4F-A190-CBC44CDE2065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>
                <a:solidFill>
                  <a:srgbClr val="FF0000"/>
                </a:solidFill>
              </a:rPr>
              <a:t>How many components and lags are needed?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D2DA648-CBDA-4B1E-A1CB-42681E3F6D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ameter Tunning for </a:t>
            </a:r>
            <a:r>
              <a:rPr lang="en-US" dirty="0" err="1"/>
              <a:t>DiPLS</a:t>
            </a:r>
            <a:r>
              <a:rPr lang="en-US" dirty="0"/>
              <a:t>: Case 2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407AB67-5C63-4297-A0AF-D44FAD01AB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September 201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B6E7EE9-27F7-4F9A-B250-7706DC9D9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25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79E5A08-1F0B-474A-AFB5-4E761B5DF328}"/>
              </a:ext>
            </a:extLst>
          </p:cNvPr>
          <p:cNvSpPr txBox="1"/>
          <p:nvPr/>
        </p:nvSpPr>
        <p:spPr bwMode="gray">
          <a:xfrm>
            <a:off x="7139708" y="1590927"/>
            <a:ext cx="3943928" cy="40563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Method 2: 5-fold Cross Validation MS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AED4A48-47D3-4C83-8286-07CC57826B7D}"/>
              </a:ext>
            </a:extLst>
          </p:cNvPr>
          <p:cNvSpPr txBox="1"/>
          <p:nvPr/>
        </p:nvSpPr>
        <p:spPr bwMode="gray">
          <a:xfrm>
            <a:off x="981820" y="1590927"/>
            <a:ext cx="3103487" cy="792236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Method 1: Directly calculate 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v</a:t>
            </a: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alidation set 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MSE</a:t>
            </a:r>
            <a:endParaRPr lang="en-US" sz="1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F2C3EE0-1707-464B-A13E-592180F4F07B}"/>
              </a:ext>
            </a:extLst>
          </p:cNvPr>
          <p:cNvSpPr txBox="1"/>
          <p:nvPr/>
        </p:nvSpPr>
        <p:spPr bwMode="gray">
          <a:xfrm>
            <a:off x="1460382" y="4470935"/>
            <a:ext cx="886691" cy="49825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lag</a:t>
            </a: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 = 0</a:t>
            </a:r>
          </a:p>
        </p:txBody>
      </p:sp>
      <p:pic>
        <p:nvPicPr>
          <p:cNvPr id="6146" name="Picture 2">
            <a:extLst>
              <a:ext uri="{FF2B5EF4-FFF2-40B4-BE49-F238E27FC236}">
                <a16:creationId xmlns:a16="http://schemas.microsoft.com/office/drawing/2014/main" id="{4527C140-1AB2-4EA7-9730-B0EC91A88C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0292" y="2137115"/>
            <a:ext cx="2365017" cy="2356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>
            <a:extLst>
              <a:ext uri="{FF2B5EF4-FFF2-40B4-BE49-F238E27FC236}">
                <a16:creationId xmlns:a16="http://schemas.microsoft.com/office/drawing/2014/main" id="{19D432B4-A555-4CA3-A0D3-A4A8F71608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854" y="4872886"/>
            <a:ext cx="2625857" cy="16655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0" name="Picture 6">
            <a:extLst>
              <a:ext uri="{FF2B5EF4-FFF2-40B4-BE49-F238E27FC236}">
                <a16:creationId xmlns:a16="http://schemas.microsoft.com/office/drawing/2014/main" id="{8BB6A84B-B563-4E15-BEB2-6C8B3CB490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7733" y="1891064"/>
            <a:ext cx="2533650" cy="2524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2" name="Picture 8">
            <a:extLst>
              <a:ext uri="{FF2B5EF4-FFF2-40B4-BE49-F238E27FC236}">
                <a16:creationId xmlns:a16="http://schemas.microsoft.com/office/drawing/2014/main" id="{98D12777-C491-4BBD-BC6C-98B89885D6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2313" y="4855115"/>
            <a:ext cx="2725781" cy="17288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4" name="Picture 10">
            <a:extLst>
              <a:ext uri="{FF2B5EF4-FFF2-40B4-BE49-F238E27FC236}">
                <a16:creationId xmlns:a16="http://schemas.microsoft.com/office/drawing/2014/main" id="{0C4A6DA5-1E36-4EEE-8D2A-90AB5C67DB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9289" y="4891479"/>
            <a:ext cx="2836033" cy="17409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E33CCD56-3F44-4B5F-88DE-8898344730BC}"/>
              </a:ext>
            </a:extLst>
          </p:cNvPr>
          <p:cNvSpPr txBox="1"/>
          <p:nvPr/>
        </p:nvSpPr>
        <p:spPr bwMode="gray">
          <a:xfrm>
            <a:off x="3416839" y="4450688"/>
            <a:ext cx="2191492" cy="49825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 # of Component = 3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8A2C46-16ED-4BAB-A09A-5FFE62BAA3DA}"/>
              </a:ext>
            </a:extLst>
          </p:cNvPr>
          <p:cNvSpPr txBox="1"/>
          <p:nvPr/>
        </p:nvSpPr>
        <p:spPr bwMode="gray">
          <a:xfrm>
            <a:off x="7317624" y="4569855"/>
            <a:ext cx="886691" cy="49825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Lag </a:t>
            </a: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= 0</a:t>
            </a:r>
          </a:p>
        </p:txBody>
      </p:sp>
      <p:pic>
        <p:nvPicPr>
          <p:cNvPr id="6156" name="Picture 12">
            <a:extLst>
              <a:ext uri="{FF2B5EF4-FFF2-40B4-BE49-F238E27FC236}">
                <a16:creationId xmlns:a16="http://schemas.microsoft.com/office/drawing/2014/main" id="{F0F15310-63F8-4C68-BE60-B349E80BEE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5109" y="4882428"/>
            <a:ext cx="2865523" cy="1759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65EFF9FB-452D-4E83-8CA7-A8C67C906D4E}"/>
              </a:ext>
            </a:extLst>
          </p:cNvPr>
          <p:cNvSpPr txBox="1"/>
          <p:nvPr/>
        </p:nvSpPr>
        <p:spPr bwMode="gray">
          <a:xfrm>
            <a:off x="9582125" y="4603088"/>
            <a:ext cx="2191492" cy="49825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 # of Component = 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50C15C45-270A-4F2F-A110-E1A427F840E0}"/>
              </a:ext>
            </a:extLst>
          </p:cNvPr>
          <p:cNvSpPr/>
          <p:nvPr/>
        </p:nvSpPr>
        <p:spPr bwMode="gray">
          <a:xfrm>
            <a:off x="1936519" y="5984805"/>
            <a:ext cx="498763" cy="612173"/>
          </a:xfrm>
          <a:prstGeom prst="ellipse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5BFEAE34-B1AA-4298-B235-ED874550D53E}"/>
              </a:ext>
            </a:extLst>
          </p:cNvPr>
          <p:cNvSpPr/>
          <p:nvPr/>
        </p:nvSpPr>
        <p:spPr bwMode="gray">
          <a:xfrm>
            <a:off x="7981298" y="6049538"/>
            <a:ext cx="498763" cy="612173"/>
          </a:xfrm>
          <a:prstGeom prst="ellipse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D43240F7-67AA-4506-A011-B4CBC5405711}"/>
              </a:ext>
            </a:extLst>
          </p:cNvPr>
          <p:cNvSpPr/>
          <p:nvPr/>
        </p:nvSpPr>
        <p:spPr bwMode="gray">
          <a:xfrm>
            <a:off x="3280214" y="6113760"/>
            <a:ext cx="498763" cy="612173"/>
          </a:xfrm>
          <a:prstGeom prst="ellipse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AAA680C0-FF38-455F-9907-08AB102DAF7E}"/>
              </a:ext>
            </a:extLst>
          </p:cNvPr>
          <p:cNvSpPr/>
          <p:nvPr/>
        </p:nvSpPr>
        <p:spPr bwMode="gray">
          <a:xfrm>
            <a:off x="9569410" y="6091812"/>
            <a:ext cx="498763" cy="612173"/>
          </a:xfrm>
          <a:prstGeom prst="ellipse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2186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92061D4-9269-484D-B028-F826DFD199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se study 3: Dynamic process for Y, but static process for X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54CF519-5A5A-4B6C-B354-8A9FADA9A9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September 201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4A220B0-500B-499B-A376-F05ABB2F3C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26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13FAD25-6746-418C-8F15-DC93CE6B1B58}"/>
              </a:ext>
            </a:extLst>
          </p:cNvPr>
          <p:cNvSpPr txBox="1"/>
          <p:nvPr/>
        </p:nvSpPr>
        <p:spPr bwMode="gray">
          <a:xfrm>
            <a:off x="974672" y="1505944"/>
            <a:ext cx="3524249" cy="29208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1st</a:t>
            </a: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 component for the original dat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BEAE80C-81B5-4D4F-89C1-9C2048044EA8}"/>
              </a:ext>
            </a:extLst>
          </p:cNvPr>
          <p:cNvSpPr txBox="1"/>
          <p:nvPr/>
        </p:nvSpPr>
        <p:spPr bwMode="gray">
          <a:xfrm>
            <a:off x="107878" y="1349474"/>
            <a:ext cx="960582" cy="37869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Training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3A5E372-73F9-46E4-963F-B5B45E5B8589}"/>
              </a:ext>
            </a:extLst>
          </p:cNvPr>
          <p:cNvSpPr txBox="1"/>
          <p:nvPr/>
        </p:nvSpPr>
        <p:spPr bwMode="gray">
          <a:xfrm>
            <a:off x="7250481" y="1461879"/>
            <a:ext cx="4108016" cy="39305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4</a:t>
            </a: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rd component for leftover white nois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280AC70-28F2-4977-B2CB-41D479DB1A63}"/>
              </a:ext>
            </a:extLst>
          </p:cNvPr>
          <p:cNvSpPr txBox="1"/>
          <p:nvPr/>
        </p:nvSpPr>
        <p:spPr bwMode="gray">
          <a:xfrm>
            <a:off x="107878" y="4225457"/>
            <a:ext cx="960582" cy="37869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Testing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467548B-04A7-4360-A0C3-2FAF91187972}"/>
              </a:ext>
            </a:extLst>
          </p:cNvPr>
          <p:cNvSpPr txBox="1"/>
          <p:nvPr/>
        </p:nvSpPr>
        <p:spPr bwMode="gray">
          <a:xfrm>
            <a:off x="1672018" y="6302307"/>
            <a:ext cx="2428928" cy="214656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MES for Y: </a:t>
            </a: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 0.21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4894423-A547-48F1-B0CC-EA65AAC8A25E}"/>
              </a:ext>
            </a:extLst>
          </p:cNvPr>
          <p:cNvSpPr txBox="1"/>
          <p:nvPr/>
        </p:nvSpPr>
        <p:spPr bwMode="gray">
          <a:xfrm>
            <a:off x="8328214" y="6318168"/>
            <a:ext cx="2428928" cy="214656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MES for Y: </a:t>
            </a: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 0.20</a:t>
            </a:r>
          </a:p>
        </p:txBody>
      </p:sp>
      <p:pic>
        <p:nvPicPr>
          <p:cNvPr id="10242" name="Picture 2">
            <a:extLst>
              <a:ext uri="{FF2B5EF4-FFF2-40B4-BE49-F238E27FC236}">
                <a16:creationId xmlns:a16="http://schemas.microsoft.com/office/drawing/2014/main" id="{98C51FB8-E91B-4715-9583-C16F667E9C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8175" y="4196578"/>
            <a:ext cx="3235685" cy="2168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BA45A79-4E5C-495C-9DC1-FD70E98FFDEB}"/>
              </a:ext>
            </a:extLst>
          </p:cNvPr>
          <p:cNvSpPr txBox="1"/>
          <p:nvPr/>
        </p:nvSpPr>
        <p:spPr bwMode="gray">
          <a:xfrm>
            <a:off x="5808233" y="5603460"/>
            <a:ext cx="2133600" cy="822036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…</a:t>
            </a:r>
          </a:p>
        </p:txBody>
      </p:sp>
      <p:pic>
        <p:nvPicPr>
          <p:cNvPr id="10244" name="Picture 4">
            <a:extLst>
              <a:ext uri="{FF2B5EF4-FFF2-40B4-BE49-F238E27FC236}">
                <a16:creationId xmlns:a16="http://schemas.microsoft.com/office/drawing/2014/main" id="{37E31099-C89B-4DDE-BC80-FBE6BF20E7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1456" y="4212749"/>
            <a:ext cx="3235686" cy="21687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8BCDB26C-2DE7-409B-B917-926B027FDA5E}"/>
              </a:ext>
            </a:extLst>
          </p:cNvPr>
          <p:cNvSpPr txBox="1"/>
          <p:nvPr/>
        </p:nvSpPr>
        <p:spPr bwMode="gray">
          <a:xfrm>
            <a:off x="5877507" y="2892582"/>
            <a:ext cx="2133600" cy="822036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…</a:t>
            </a:r>
          </a:p>
        </p:txBody>
      </p:sp>
      <p:pic>
        <p:nvPicPr>
          <p:cNvPr id="10246" name="Picture 6">
            <a:extLst>
              <a:ext uri="{FF2B5EF4-FFF2-40B4-BE49-F238E27FC236}">
                <a16:creationId xmlns:a16="http://schemas.microsoft.com/office/drawing/2014/main" id="{66923B18-2BA6-4AFF-A990-B12F711FC9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8459" y="1878694"/>
            <a:ext cx="3171031" cy="2125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8" name="Picture 8">
            <a:extLst>
              <a:ext uri="{FF2B5EF4-FFF2-40B4-BE49-F238E27FC236}">
                <a16:creationId xmlns:a16="http://schemas.microsoft.com/office/drawing/2014/main" id="{D74C178D-B7AF-493E-876F-A90660E288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4502" y="1802288"/>
            <a:ext cx="3452248" cy="2218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309B120B-0DE1-403E-8461-49EA6BEAB6F6}"/>
              </a:ext>
            </a:extLst>
          </p:cNvPr>
          <p:cNvSpPr txBox="1"/>
          <p:nvPr/>
        </p:nvSpPr>
        <p:spPr bwMode="gray">
          <a:xfrm>
            <a:off x="1034458" y="2884962"/>
            <a:ext cx="237810" cy="45720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y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C813DC2-D1E4-4F42-9D90-65EA3130C14A}"/>
              </a:ext>
            </a:extLst>
          </p:cNvPr>
          <p:cNvSpPr txBox="1"/>
          <p:nvPr/>
        </p:nvSpPr>
        <p:spPr bwMode="gray">
          <a:xfrm>
            <a:off x="981821" y="5086838"/>
            <a:ext cx="237810" cy="45720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y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2060A2E-3AF4-4647-85CE-50A7E60521B3}"/>
              </a:ext>
            </a:extLst>
          </p:cNvPr>
          <p:cNvSpPr txBox="1"/>
          <p:nvPr/>
        </p:nvSpPr>
        <p:spPr bwMode="gray">
          <a:xfrm>
            <a:off x="6564619" y="2753141"/>
            <a:ext cx="620828" cy="45720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err="1">
                <a:solidFill>
                  <a:srgbClr val="000000"/>
                </a:solidFill>
                <a:latin typeface="Arial" panose="020B0604020202020204" pitchFamily="34" charset="0"/>
              </a:rPr>
              <a:t>y_res</a:t>
            </a:r>
            <a:endParaRPr lang="en-US" sz="1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3C915C1-9792-48A2-80EA-830E13D15949}"/>
              </a:ext>
            </a:extLst>
          </p:cNvPr>
          <p:cNvSpPr txBox="1"/>
          <p:nvPr/>
        </p:nvSpPr>
        <p:spPr bwMode="gray">
          <a:xfrm>
            <a:off x="7156692" y="5099183"/>
            <a:ext cx="237810" cy="45720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y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7FD5C85-82DB-405C-B09D-C0818E4D812F}"/>
              </a:ext>
            </a:extLst>
          </p:cNvPr>
          <p:cNvSpPr txBox="1"/>
          <p:nvPr/>
        </p:nvSpPr>
        <p:spPr bwMode="gray">
          <a:xfrm>
            <a:off x="2473887" y="3948460"/>
            <a:ext cx="825190" cy="29208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t</a:t>
            </a: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rial #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AF68E8A-B9CE-4FFD-A1DB-97EBEB9EB0E3}"/>
              </a:ext>
            </a:extLst>
          </p:cNvPr>
          <p:cNvSpPr txBox="1"/>
          <p:nvPr/>
        </p:nvSpPr>
        <p:spPr bwMode="gray">
          <a:xfrm>
            <a:off x="9037293" y="3948460"/>
            <a:ext cx="825190" cy="29208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t</a:t>
            </a: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rial #</a:t>
            </a:r>
          </a:p>
        </p:txBody>
      </p:sp>
    </p:spTree>
    <p:extLst>
      <p:ext uri="{BB962C8B-B14F-4D97-AF65-F5344CB8AC3E}">
        <p14:creationId xmlns:p14="http://schemas.microsoft.com/office/powerpoint/2010/main" val="1088994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DFA53D4A-C878-4B4F-A190-CBC44CDE2065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/>
              <a:t>“dynamical process”: s != 0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D2DA648-CBDA-4B1E-A1CB-42681E3F6D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se3: comparison with </a:t>
            </a:r>
            <a:r>
              <a:rPr lang="en-US" dirty="0" err="1"/>
              <a:t>sklearn</a:t>
            </a:r>
            <a:r>
              <a:rPr lang="en-US" dirty="0"/>
              <a:t> packag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407AB67-5C63-4297-A0AF-D44FAD01AB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September 201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B6E7EE9-27F7-4F9A-B250-7706DC9D9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27</a:t>
            </a:fld>
            <a:endParaRPr lang="en-US"/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24A30E2C-6B8B-4461-9424-B092CA40AF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9416141"/>
              </p:ext>
            </p:extLst>
          </p:nvPr>
        </p:nvGraphicFramePr>
        <p:xfrm>
          <a:off x="6376648" y="4609391"/>
          <a:ext cx="5584445" cy="140690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116889">
                  <a:extLst>
                    <a:ext uri="{9D8B030D-6E8A-4147-A177-3AD203B41FA5}">
                      <a16:colId xmlns:a16="http://schemas.microsoft.com/office/drawing/2014/main" val="1031651905"/>
                    </a:ext>
                  </a:extLst>
                </a:gridCol>
                <a:gridCol w="1116889">
                  <a:extLst>
                    <a:ext uri="{9D8B030D-6E8A-4147-A177-3AD203B41FA5}">
                      <a16:colId xmlns:a16="http://schemas.microsoft.com/office/drawing/2014/main" val="340025019"/>
                    </a:ext>
                  </a:extLst>
                </a:gridCol>
                <a:gridCol w="1116889">
                  <a:extLst>
                    <a:ext uri="{9D8B030D-6E8A-4147-A177-3AD203B41FA5}">
                      <a16:colId xmlns:a16="http://schemas.microsoft.com/office/drawing/2014/main" val="2851378975"/>
                    </a:ext>
                  </a:extLst>
                </a:gridCol>
                <a:gridCol w="1116889">
                  <a:extLst>
                    <a:ext uri="{9D8B030D-6E8A-4147-A177-3AD203B41FA5}">
                      <a16:colId xmlns:a16="http://schemas.microsoft.com/office/drawing/2014/main" val="1302843106"/>
                    </a:ext>
                  </a:extLst>
                </a:gridCol>
                <a:gridCol w="1116889">
                  <a:extLst>
                    <a:ext uri="{9D8B030D-6E8A-4147-A177-3AD203B41FA5}">
                      <a16:colId xmlns:a16="http://schemas.microsoft.com/office/drawing/2014/main" val="3267764960"/>
                    </a:ext>
                  </a:extLst>
                </a:gridCol>
              </a:tblGrid>
              <a:tr h="383411">
                <a:tc>
                  <a:txBody>
                    <a:bodyPr/>
                    <a:lstStyle/>
                    <a:p>
                      <a:r>
                        <a:rPr lang="en-US" dirty="0"/>
                        <a:t>Inner- </a:t>
                      </a:r>
                      <a:r>
                        <a:rPr lang="en-US" dirty="0" err="1"/>
                        <a:t>coeff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eature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eature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eature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eature 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919967"/>
                  </a:ext>
                </a:extLst>
              </a:tr>
              <a:tr h="383411">
                <a:tc>
                  <a:txBody>
                    <a:bodyPr/>
                    <a:lstStyle/>
                    <a:p>
                      <a:r>
                        <a:rPr lang="en-US" dirty="0"/>
                        <a:t>alpha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27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00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034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345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5471770"/>
                  </a:ext>
                </a:extLst>
              </a:tr>
              <a:tr h="383411">
                <a:tc>
                  <a:txBody>
                    <a:bodyPr/>
                    <a:lstStyle/>
                    <a:p>
                      <a:r>
                        <a:rPr lang="en-US" dirty="0"/>
                        <a:t>alpha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highlight>
                            <a:srgbClr val="FFFF00"/>
                          </a:highlight>
                        </a:rPr>
                        <a:t>0.439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highlight>
                            <a:srgbClr val="FFFF00"/>
                          </a:highlight>
                        </a:rPr>
                        <a:t>-0.091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highlight>
                            <a:srgbClr val="FFFF00"/>
                          </a:highlight>
                        </a:rPr>
                        <a:t>-0.418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234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1686710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E05A39F2-2745-4C55-AD4E-F56000D69D66}"/>
              </a:ext>
            </a:extLst>
          </p:cNvPr>
          <p:cNvSpPr txBox="1"/>
          <p:nvPr/>
        </p:nvSpPr>
        <p:spPr bwMode="gray">
          <a:xfrm>
            <a:off x="877455" y="1437395"/>
            <a:ext cx="4287849" cy="3792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pls = </a:t>
            </a:r>
            <a:r>
              <a:rPr lang="en-US" dirty="0" err="1"/>
              <a:t>PLSRegression</a:t>
            </a:r>
            <a:r>
              <a:rPr lang="en-US" dirty="0"/>
              <a:t>(</a:t>
            </a:r>
            <a:r>
              <a:rPr lang="en-US" dirty="0" err="1"/>
              <a:t>n_components</a:t>
            </a:r>
            <a:r>
              <a:rPr lang="en-US" dirty="0"/>
              <a:t>=4)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E274BB8-7EBC-46CB-984F-E62A82CEB27D}"/>
              </a:ext>
            </a:extLst>
          </p:cNvPr>
          <p:cNvSpPr txBox="1"/>
          <p:nvPr/>
        </p:nvSpPr>
        <p:spPr bwMode="gray">
          <a:xfrm>
            <a:off x="6095206" y="1454739"/>
            <a:ext cx="543177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/>
              <a:t>DiPLS</a:t>
            </a:r>
            <a:r>
              <a:rPr lang="en-US" dirty="0"/>
              <a:t> = </a:t>
            </a:r>
            <a:r>
              <a:rPr lang="en-US" dirty="0" err="1"/>
              <a:t>PLSRegression</a:t>
            </a:r>
            <a:r>
              <a:rPr lang="en-US" dirty="0"/>
              <a:t>(</a:t>
            </a:r>
            <a:r>
              <a:rPr lang="en-US" dirty="0" err="1"/>
              <a:t>n_components</a:t>
            </a:r>
            <a:r>
              <a:rPr lang="en-US" dirty="0"/>
              <a:t>=4, lag = 1)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3D9699F-4710-4470-8D1B-386206FE7FC8}"/>
              </a:ext>
            </a:extLst>
          </p:cNvPr>
          <p:cNvSpPr txBox="1"/>
          <p:nvPr/>
        </p:nvSpPr>
        <p:spPr bwMode="gray">
          <a:xfrm>
            <a:off x="423362" y="4263492"/>
            <a:ext cx="5515012" cy="261262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If lag = 1: </a:t>
            </a:r>
            <a:r>
              <a:rPr lang="en-US" sz="1800" b="0" i="0" u="none" baseline="0" dirty="0" err="1">
                <a:solidFill>
                  <a:srgbClr val="000000"/>
                </a:solidFill>
                <a:latin typeface="Arial" panose="020B0604020202020204" pitchFamily="34" charset="0"/>
              </a:rPr>
              <a:t>DiPLS</a:t>
            </a:r>
            <a:endParaRPr lang="en-US" sz="1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25" name="Table 9">
            <a:extLst>
              <a:ext uri="{FF2B5EF4-FFF2-40B4-BE49-F238E27FC236}">
                <a16:creationId xmlns:a16="http://schemas.microsoft.com/office/drawing/2014/main" id="{A0D92AFE-6925-473E-A9DB-BD0A852525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8483551"/>
              </p:ext>
            </p:extLst>
          </p:nvPr>
        </p:nvGraphicFramePr>
        <p:xfrm>
          <a:off x="392006" y="4627821"/>
          <a:ext cx="5584445" cy="140690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116889">
                  <a:extLst>
                    <a:ext uri="{9D8B030D-6E8A-4147-A177-3AD203B41FA5}">
                      <a16:colId xmlns:a16="http://schemas.microsoft.com/office/drawing/2014/main" val="1031651905"/>
                    </a:ext>
                  </a:extLst>
                </a:gridCol>
                <a:gridCol w="1116889">
                  <a:extLst>
                    <a:ext uri="{9D8B030D-6E8A-4147-A177-3AD203B41FA5}">
                      <a16:colId xmlns:a16="http://schemas.microsoft.com/office/drawing/2014/main" val="340025019"/>
                    </a:ext>
                  </a:extLst>
                </a:gridCol>
                <a:gridCol w="1116889">
                  <a:extLst>
                    <a:ext uri="{9D8B030D-6E8A-4147-A177-3AD203B41FA5}">
                      <a16:colId xmlns:a16="http://schemas.microsoft.com/office/drawing/2014/main" val="2851378975"/>
                    </a:ext>
                  </a:extLst>
                </a:gridCol>
                <a:gridCol w="1116889">
                  <a:extLst>
                    <a:ext uri="{9D8B030D-6E8A-4147-A177-3AD203B41FA5}">
                      <a16:colId xmlns:a16="http://schemas.microsoft.com/office/drawing/2014/main" val="1302843106"/>
                    </a:ext>
                  </a:extLst>
                </a:gridCol>
                <a:gridCol w="1116889">
                  <a:extLst>
                    <a:ext uri="{9D8B030D-6E8A-4147-A177-3AD203B41FA5}">
                      <a16:colId xmlns:a16="http://schemas.microsoft.com/office/drawing/2014/main" val="1055741998"/>
                    </a:ext>
                  </a:extLst>
                </a:gridCol>
              </a:tblGrid>
              <a:tr h="383411">
                <a:tc>
                  <a:txBody>
                    <a:bodyPr/>
                    <a:lstStyle/>
                    <a:p>
                      <a:r>
                        <a:rPr lang="en-US" dirty="0"/>
                        <a:t>Outer </a:t>
                      </a:r>
                      <a:r>
                        <a:rPr lang="en-US" dirty="0" err="1"/>
                        <a:t>coeff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eature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eature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eature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eature 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919967"/>
                  </a:ext>
                </a:extLst>
              </a:tr>
              <a:tr h="383411">
                <a:tc>
                  <a:txBody>
                    <a:bodyPr/>
                    <a:lstStyle/>
                    <a:p>
                      <a:r>
                        <a:rPr lang="en-US" dirty="0"/>
                        <a:t>beta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468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014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08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827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5471770"/>
                  </a:ext>
                </a:extLst>
              </a:tr>
              <a:tr h="383411">
                <a:tc>
                  <a:txBody>
                    <a:bodyPr/>
                    <a:lstStyle/>
                    <a:p>
                      <a:r>
                        <a:rPr lang="en-US" dirty="0"/>
                        <a:t>beta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highlight>
                            <a:srgbClr val="FFFF00"/>
                          </a:highlight>
                        </a:rPr>
                        <a:t>0.88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highlight>
                            <a:srgbClr val="FFFF00"/>
                          </a:highlight>
                        </a:rPr>
                        <a:t>-0.999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highlight>
                            <a:srgbClr val="FFFF00"/>
                          </a:highlight>
                        </a:rPr>
                        <a:t>-0.996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61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1686710"/>
                  </a:ext>
                </a:extLst>
              </a:tr>
            </a:tbl>
          </a:graphicData>
        </a:graphic>
      </p:graphicFrame>
      <p:sp>
        <p:nvSpPr>
          <p:cNvPr id="27" name="TextBox 26">
            <a:extLst>
              <a:ext uri="{FF2B5EF4-FFF2-40B4-BE49-F238E27FC236}">
                <a16:creationId xmlns:a16="http://schemas.microsoft.com/office/drawing/2014/main" id="{EECB825B-C795-4FEF-A305-62BA2A52BBB0}"/>
              </a:ext>
            </a:extLst>
          </p:cNvPr>
          <p:cNvSpPr txBox="1"/>
          <p:nvPr/>
        </p:nvSpPr>
        <p:spPr bwMode="gray">
          <a:xfrm>
            <a:off x="10206416" y="2006861"/>
            <a:ext cx="1754677" cy="951346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R2 = 0.9998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MSE = 0.0001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C360F4-A584-4E2D-B116-E45A84BECA09}"/>
              </a:ext>
            </a:extLst>
          </p:cNvPr>
          <p:cNvSpPr txBox="1"/>
          <p:nvPr/>
        </p:nvSpPr>
        <p:spPr bwMode="gray">
          <a:xfrm>
            <a:off x="4580867" y="6308436"/>
            <a:ext cx="5283569" cy="32792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Some significant of coefficient1 appear!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FFEE7DA-37FA-4DA4-8F2F-FB2C3A30F459}"/>
              </a:ext>
            </a:extLst>
          </p:cNvPr>
          <p:cNvSpPr txBox="1"/>
          <p:nvPr/>
        </p:nvSpPr>
        <p:spPr bwMode="gray">
          <a:xfrm>
            <a:off x="937712" y="2993637"/>
            <a:ext cx="237810" cy="45720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AD89A7D-D2EC-42CD-AAAA-C158AD0E8D37}"/>
              </a:ext>
            </a:extLst>
          </p:cNvPr>
          <p:cNvSpPr txBox="1"/>
          <p:nvPr/>
        </p:nvSpPr>
        <p:spPr bwMode="gray">
          <a:xfrm>
            <a:off x="6376648" y="3082392"/>
            <a:ext cx="237810" cy="45720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y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E6B67DA-869C-4F70-938C-49D5562C7AD3}"/>
              </a:ext>
            </a:extLst>
          </p:cNvPr>
          <p:cNvSpPr txBox="1"/>
          <p:nvPr/>
        </p:nvSpPr>
        <p:spPr bwMode="gray">
          <a:xfrm>
            <a:off x="2608784" y="4180076"/>
            <a:ext cx="825190" cy="29208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t</a:t>
            </a: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rial #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DABAB03-4F25-4CFC-B77B-FC2BABD290DB}"/>
              </a:ext>
            </a:extLst>
          </p:cNvPr>
          <p:cNvSpPr txBox="1"/>
          <p:nvPr/>
        </p:nvSpPr>
        <p:spPr bwMode="gray">
          <a:xfrm>
            <a:off x="8158788" y="4232393"/>
            <a:ext cx="825190" cy="29208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t</a:t>
            </a: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rial #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545F5A7-C68F-44FF-B6CF-6C0F6DBEC85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9254" y="1885744"/>
            <a:ext cx="3524250" cy="2362067"/>
          </a:xfrm>
          <a:prstGeom prst="rect">
            <a:avLst/>
          </a:prstGeom>
          <a:noFill/>
          <a:ln>
            <a:noFill/>
          </a:ln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5A365D8-8FF2-4E36-9C4E-386910044F7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8434" y="1907715"/>
            <a:ext cx="3524250" cy="231812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84647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DFA53D4A-C878-4B4F-A190-CBC44CDE2065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/>
              <a:t>In additional to the paper, we add this scenario and want to see if the lag parameter is like in case 3, s = 1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D2DA648-CBDA-4B1E-A1CB-42681E3F6D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se 4: Both X and Y are dynamical proces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407AB67-5C63-4297-A0AF-D44FAD01AB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September 201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B6E7EE9-27F7-4F9A-B250-7706DC9D9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28</a:t>
            </a:fld>
            <a:endParaRPr lang="en-US"/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24A30E2C-6B8B-4461-9424-B092CA40AF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1542741"/>
              </p:ext>
            </p:extLst>
          </p:nvPr>
        </p:nvGraphicFramePr>
        <p:xfrm>
          <a:off x="6376648" y="4609391"/>
          <a:ext cx="5584445" cy="140690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116889">
                  <a:extLst>
                    <a:ext uri="{9D8B030D-6E8A-4147-A177-3AD203B41FA5}">
                      <a16:colId xmlns:a16="http://schemas.microsoft.com/office/drawing/2014/main" val="1031651905"/>
                    </a:ext>
                  </a:extLst>
                </a:gridCol>
                <a:gridCol w="1116889">
                  <a:extLst>
                    <a:ext uri="{9D8B030D-6E8A-4147-A177-3AD203B41FA5}">
                      <a16:colId xmlns:a16="http://schemas.microsoft.com/office/drawing/2014/main" val="340025019"/>
                    </a:ext>
                  </a:extLst>
                </a:gridCol>
                <a:gridCol w="1116889">
                  <a:extLst>
                    <a:ext uri="{9D8B030D-6E8A-4147-A177-3AD203B41FA5}">
                      <a16:colId xmlns:a16="http://schemas.microsoft.com/office/drawing/2014/main" val="2851378975"/>
                    </a:ext>
                  </a:extLst>
                </a:gridCol>
                <a:gridCol w="1116889">
                  <a:extLst>
                    <a:ext uri="{9D8B030D-6E8A-4147-A177-3AD203B41FA5}">
                      <a16:colId xmlns:a16="http://schemas.microsoft.com/office/drawing/2014/main" val="1302843106"/>
                    </a:ext>
                  </a:extLst>
                </a:gridCol>
                <a:gridCol w="1116889">
                  <a:extLst>
                    <a:ext uri="{9D8B030D-6E8A-4147-A177-3AD203B41FA5}">
                      <a16:colId xmlns:a16="http://schemas.microsoft.com/office/drawing/2014/main" val="3267764960"/>
                    </a:ext>
                  </a:extLst>
                </a:gridCol>
              </a:tblGrid>
              <a:tr h="383411">
                <a:tc>
                  <a:txBody>
                    <a:bodyPr/>
                    <a:lstStyle/>
                    <a:p>
                      <a:r>
                        <a:rPr lang="en-US" dirty="0"/>
                        <a:t>Inner- </a:t>
                      </a:r>
                      <a:r>
                        <a:rPr lang="en-US" dirty="0" err="1"/>
                        <a:t>coeff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eature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eature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eature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eature 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919967"/>
                  </a:ext>
                </a:extLst>
              </a:tr>
              <a:tr h="383411">
                <a:tc>
                  <a:txBody>
                    <a:bodyPr/>
                    <a:lstStyle/>
                    <a:p>
                      <a:r>
                        <a:rPr lang="en-US" dirty="0"/>
                        <a:t>alpha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79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04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028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219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5471770"/>
                  </a:ext>
                </a:extLst>
              </a:tr>
              <a:tr h="383411">
                <a:tc>
                  <a:txBody>
                    <a:bodyPr/>
                    <a:lstStyle/>
                    <a:p>
                      <a:r>
                        <a:rPr lang="en-US" dirty="0"/>
                        <a:t>alpha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highlight>
                            <a:srgbClr val="FFFF00"/>
                          </a:highlight>
                        </a:rPr>
                        <a:t>0.536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highlight>
                            <a:srgbClr val="FFFF00"/>
                          </a:highlight>
                        </a:rPr>
                        <a:t>-0.04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highlight>
                            <a:srgbClr val="FFFF00"/>
                          </a:highlight>
                        </a:rPr>
                        <a:t>0.096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highlight>
                            <a:srgbClr val="FFFF00"/>
                          </a:highlight>
                        </a:rPr>
                        <a:t>-0.265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1686710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E05A39F2-2745-4C55-AD4E-F56000D69D66}"/>
              </a:ext>
            </a:extLst>
          </p:cNvPr>
          <p:cNvSpPr txBox="1"/>
          <p:nvPr/>
        </p:nvSpPr>
        <p:spPr bwMode="gray">
          <a:xfrm>
            <a:off x="877455" y="1437395"/>
            <a:ext cx="4287849" cy="3792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pls = </a:t>
            </a:r>
            <a:r>
              <a:rPr lang="en-US" dirty="0" err="1"/>
              <a:t>PLSRegression</a:t>
            </a:r>
            <a:r>
              <a:rPr lang="en-US" dirty="0"/>
              <a:t>(</a:t>
            </a:r>
            <a:r>
              <a:rPr lang="en-US" dirty="0" err="1"/>
              <a:t>n_components</a:t>
            </a:r>
            <a:r>
              <a:rPr lang="en-US" dirty="0"/>
              <a:t>=4)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E274BB8-7EBC-46CB-984F-E62A82CEB27D}"/>
              </a:ext>
            </a:extLst>
          </p:cNvPr>
          <p:cNvSpPr txBox="1"/>
          <p:nvPr/>
        </p:nvSpPr>
        <p:spPr bwMode="gray">
          <a:xfrm>
            <a:off x="6095206" y="1454739"/>
            <a:ext cx="543177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/>
              <a:t>DiPLS</a:t>
            </a:r>
            <a:r>
              <a:rPr lang="en-US" dirty="0"/>
              <a:t> = </a:t>
            </a:r>
            <a:r>
              <a:rPr lang="en-US" dirty="0" err="1"/>
              <a:t>PLSRegression</a:t>
            </a:r>
            <a:r>
              <a:rPr lang="en-US" dirty="0"/>
              <a:t>(</a:t>
            </a:r>
            <a:r>
              <a:rPr lang="en-US" dirty="0" err="1"/>
              <a:t>n_components</a:t>
            </a:r>
            <a:r>
              <a:rPr lang="en-US" dirty="0"/>
              <a:t>=4, lag = 1)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3D9699F-4710-4470-8D1B-386206FE7FC8}"/>
              </a:ext>
            </a:extLst>
          </p:cNvPr>
          <p:cNvSpPr txBox="1"/>
          <p:nvPr/>
        </p:nvSpPr>
        <p:spPr bwMode="gray">
          <a:xfrm>
            <a:off x="423362" y="4263492"/>
            <a:ext cx="5515012" cy="261262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If lag = 1: </a:t>
            </a:r>
            <a:r>
              <a:rPr lang="en-US" sz="1800" b="0" i="0" u="none" baseline="0" dirty="0" err="1">
                <a:solidFill>
                  <a:srgbClr val="000000"/>
                </a:solidFill>
                <a:latin typeface="Arial" panose="020B0604020202020204" pitchFamily="34" charset="0"/>
              </a:rPr>
              <a:t>DiPLS</a:t>
            </a:r>
            <a:endParaRPr lang="en-US" sz="1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25" name="Table 9">
            <a:extLst>
              <a:ext uri="{FF2B5EF4-FFF2-40B4-BE49-F238E27FC236}">
                <a16:creationId xmlns:a16="http://schemas.microsoft.com/office/drawing/2014/main" id="{A0D92AFE-6925-473E-A9DB-BD0A852525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4717569"/>
              </p:ext>
            </p:extLst>
          </p:nvPr>
        </p:nvGraphicFramePr>
        <p:xfrm>
          <a:off x="392006" y="4627821"/>
          <a:ext cx="5584445" cy="140690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116889">
                  <a:extLst>
                    <a:ext uri="{9D8B030D-6E8A-4147-A177-3AD203B41FA5}">
                      <a16:colId xmlns:a16="http://schemas.microsoft.com/office/drawing/2014/main" val="1031651905"/>
                    </a:ext>
                  </a:extLst>
                </a:gridCol>
                <a:gridCol w="1116889">
                  <a:extLst>
                    <a:ext uri="{9D8B030D-6E8A-4147-A177-3AD203B41FA5}">
                      <a16:colId xmlns:a16="http://schemas.microsoft.com/office/drawing/2014/main" val="340025019"/>
                    </a:ext>
                  </a:extLst>
                </a:gridCol>
                <a:gridCol w="1116889">
                  <a:extLst>
                    <a:ext uri="{9D8B030D-6E8A-4147-A177-3AD203B41FA5}">
                      <a16:colId xmlns:a16="http://schemas.microsoft.com/office/drawing/2014/main" val="2851378975"/>
                    </a:ext>
                  </a:extLst>
                </a:gridCol>
                <a:gridCol w="1116889">
                  <a:extLst>
                    <a:ext uri="{9D8B030D-6E8A-4147-A177-3AD203B41FA5}">
                      <a16:colId xmlns:a16="http://schemas.microsoft.com/office/drawing/2014/main" val="1302843106"/>
                    </a:ext>
                  </a:extLst>
                </a:gridCol>
                <a:gridCol w="1116889">
                  <a:extLst>
                    <a:ext uri="{9D8B030D-6E8A-4147-A177-3AD203B41FA5}">
                      <a16:colId xmlns:a16="http://schemas.microsoft.com/office/drawing/2014/main" val="1055741998"/>
                    </a:ext>
                  </a:extLst>
                </a:gridCol>
              </a:tblGrid>
              <a:tr h="383411">
                <a:tc>
                  <a:txBody>
                    <a:bodyPr/>
                    <a:lstStyle/>
                    <a:p>
                      <a:r>
                        <a:rPr lang="en-US" dirty="0"/>
                        <a:t>Outer </a:t>
                      </a:r>
                      <a:r>
                        <a:rPr lang="en-US" dirty="0" err="1"/>
                        <a:t>coeff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eature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eature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eature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eature 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919967"/>
                  </a:ext>
                </a:extLst>
              </a:tr>
              <a:tr h="383411">
                <a:tc>
                  <a:txBody>
                    <a:bodyPr/>
                    <a:lstStyle/>
                    <a:p>
                      <a:r>
                        <a:rPr lang="en-US" dirty="0"/>
                        <a:t>beta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365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739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486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649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5471770"/>
                  </a:ext>
                </a:extLst>
              </a:tr>
              <a:tr h="383411">
                <a:tc>
                  <a:txBody>
                    <a:bodyPr/>
                    <a:lstStyle/>
                    <a:p>
                      <a:r>
                        <a:rPr lang="en-US" dirty="0"/>
                        <a:t>beta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highlight>
                            <a:srgbClr val="FFFF00"/>
                          </a:highlight>
                        </a:rPr>
                        <a:t>0.93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673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highlight>
                            <a:srgbClr val="FFFF00"/>
                          </a:highlight>
                        </a:rPr>
                        <a:t>0.873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highlight>
                            <a:srgbClr val="FFFF00"/>
                          </a:highlight>
                        </a:rPr>
                        <a:t>-0.760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1686710"/>
                  </a:ext>
                </a:extLst>
              </a:tr>
            </a:tbl>
          </a:graphicData>
        </a:graphic>
      </p:graphicFrame>
      <p:sp>
        <p:nvSpPr>
          <p:cNvPr id="27" name="TextBox 26">
            <a:extLst>
              <a:ext uri="{FF2B5EF4-FFF2-40B4-BE49-F238E27FC236}">
                <a16:creationId xmlns:a16="http://schemas.microsoft.com/office/drawing/2014/main" id="{EECB825B-C795-4FEF-A305-62BA2A52BBB0}"/>
              </a:ext>
            </a:extLst>
          </p:cNvPr>
          <p:cNvSpPr txBox="1"/>
          <p:nvPr/>
        </p:nvSpPr>
        <p:spPr bwMode="gray">
          <a:xfrm>
            <a:off x="10206416" y="2006861"/>
            <a:ext cx="1754677" cy="951346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R2 = 0.9998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MSE = 0.0001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C360F4-A584-4E2D-B116-E45A84BECA09}"/>
              </a:ext>
            </a:extLst>
          </p:cNvPr>
          <p:cNvSpPr txBox="1"/>
          <p:nvPr/>
        </p:nvSpPr>
        <p:spPr bwMode="gray">
          <a:xfrm>
            <a:off x="4580867" y="6308436"/>
            <a:ext cx="5283569" cy="32792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Some significant of coefficient1 appear!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FFEE7DA-37FA-4DA4-8F2F-FB2C3A30F459}"/>
              </a:ext>
            </a:extLst>
          </p:cNvPr>
          <p:cNvSpPr txBox="1"/>
          <p:nvPr/>
        </p:nvSpPr>
        <p:spPr bwMode="gray">
          <a:xfrm>
            <a:off x="937712" y="2993637"/>
            <a:ext cx="237810" cy="45720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AD89A7D-D2EC-42CD-AAAA-C158AD0E8D37}"/>
              </a:ext>
            </a:extLst>
          </p:cNvPr>
          <p:cNvSpPr txBox="1"/>
          <p:nvPr/>
        </p:nvSpPr>
        <p:spPr bwMode="gray">
          <a:xfrm>
            <a:off x="6376648" y="3082392"/>
            <a:ext cx="237810" cy="45720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y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E6B67DA-869C-4F70-938C-49D5562C7AD3}"/>
              </a:ext>
            </a:extLst>
          </p:cNvPr>
          <p:cNvSpPr txBox="1"/>
          <p:nvPr/>
        </p:nvSpPr>
        <p:spPr bwMode="gray">
          <a:xfrm>
            <a:off x="2608784" y="4180076"/>
            <a:ext cx="825190" cy="29208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t</a:t>
            </a: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rial #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DABAB03-4F25-4CFC-B77B-FC2BABD290DB}"/>
              </a:ext>
            </a:extLst>
          </p:cNvPr>
          <p:cNvSpPr txBox="1"/>
          <p:nvPr/>
        </p:nvSpPr>
        <p:spPr bwMode="gray">
          <a:xfrm>
            <a:off x="8158788" y="4232393"/>
            <a:ext cx="825190" cy="29208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t</a:t>
            </a: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rial #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F7A9E5CD-7B39-472A-994F-02F5F2039FD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6648" y="1758243"/>
            <a:ext cx="3755643" cy="2516985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DCFCD9FB-2436-4596-8F12-D01E7D82DA2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2751" y="1755484"/>
            <a:ext cx="3832560" cy="25691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338801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clus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29</a:t>
            </a:fld>
            <a:endParaRPr lang="en-US"/>
          </a:p>
        </p:txBody>
      </p:sp>
      <p:graphicFrame>
        <p:nvGraphicFramePr>
          <p:cNvPr id="12" name="Diagram 11">
            <a:extLst>
              <a:ext uri="{FF2B5EF4-FFF2-40B4-BE49-F238E27FC236}">
                <a16:creationId xmlns:a16="http://schemas.microsoft.com/office/drawing/2014/main" id="{A47836E1-3925-4357-8C5D-3405878B27D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39106487"/>
              </p:ext>
            </p:extLst>
          </p:nvPr>
        </p:nvGraphicFramePr>
        <p:xfrm>
          <a:off x="437539" y="1287388"/>
          <a:ext cx="11342742" cy="55706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83403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586F052-B3CD-4AA0-96F2-E8E4C2D917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utlin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D92CB2F-04A2-4C8D-B8CF-B300D9ABFE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3</a:t>
            </a:fld>
            <a:endParaRPr lang="en-US"/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7D7A5871-5842-4536-AD65-E7B65C25E83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864254" y="1367718"/>
            <a:ext cx="10722499" cy="4928435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70000" indent="-27000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7"/>
              </a:buBlip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7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7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7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7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9875" indent="-269875"/>
            <a:r>
              <a:rPr lang="en-US" sz="1400" dirty="0"/>
              <a:t>Objectives</a:t>
            </a:r>
          </a:p>
          <a:p>
            <a:pPr marL="269875" indent="-269875"/>
            <a:r>
              <a:rPr lang="en-US" sz="1400" dirty="0"/>
              <a:t>Background and Literature</a:t>
            </a:r>
          </a:p>
          <a:p>
            <a:pPr marL="539750" lvl="2" indent="-269875" algn="just"/>
            <a:r>
              <a:rPr lang="en-US" sz="1400" dirty="0"/>
              <a:t>Projection Method: Partial Least Squared (PLS) and Dynamical PLS methods</a:t>
            </a:r>
          </a:p>
          <a:p>
            <a:pPr marL="539750" lvl="2" indent="-269875" algn="just"/>
            <a:r>
              <a:rPr lang="en-US" sz="1400" dirty="0"/>
              <a:t>Papers: different dynamical PLS scheme </a:t>
            </a:r>
          </a:p>
          <a:p>
            <a:pPr marL="269875" indent="-269875"/>
            <a:r>
              <a:rPr lang="en-US" sz="1400" dirty="0"/>
              <a:t>Evaluate novel dynamical PLS Algorithm</a:t>
            </a:r>
          </a:p>
          <a:p>
            <a:pPr marL="539750" lvl="2" indent="-269875" algn="just"/>
            <a:r>
              <a:rPr lang="en-US" sz="1400" dirty="0">
                <a:ea typeface="+mn-lt"/>
                <a:cs typeface="+mn-lt"/>
              </a:rPr>
              <a:t>3 Case Studies on synthetic data</a:t>
            </a:r>
          </a:p>
          <a:p>
            <a:pPr marL="539750" lvl="2" indent="-269875" algn="just"/>
            <a:r>
              <a:rPr lang="en-US" sz="1400" dirty="0">
                <a:ea typeface="+mn-lt"/>
                <a:cs typeface="+mn-lt"/>
              </a:rPr>
              <a:t>Method Comparisons</a:t>
            </a:r>
            <a:endParaRPr lang="en-US" sz="1400" dirty="0"/>
          </a:p>
          <a:p>
            <a:pPr marL="269875" indent="-269875"/>
            <a:r>
              <a:rPr lang="en-US" sz="1400" dirty="0"/>
              <a:t>Conclusion and Future Research</a:t>
            </a:r>
          </a:p>
          <a:p>
            <a:pPr marL="539750" lvl="2" indent="-269875" algn="just"/>
            <a:r>
              <a:rPr lang="en-US" sz="1400" dirty="0" err="1">
                <a:ea typeface="+mn-lt"/>
                <a:cs typeface="+mn-lt"/>
              </a:rPr>
              <a:t>DiPLS</a:t>
            </a:r>
            <a:r>
              <a:rPr lang="en-US" sz="1400" dirty="0">
                <a:ea typeface="+mn-lt"/>
                <a:cs typeface="+mn-lt"/>
              </a:rPr>
              <a:t> algorithm can recover PLS and has better results</a:t>
            </a:r>
          </a:p>
          <a:p>
            <a:pPr marL="539750" lvl="2" indent="-269875" algn="just"/>
            <a:r>
              <a:rPr lang="en-US" sz="1400" dirty="0">
                <a:ea typeface="+mn-lt"/>
                <a:cs typeface="+mn-lt"/>
              </a:rPr>
              <a:t>Batch Statistical Control Process (BEM and BLM)</a:t>
            </a:r>
          </a:p>
          <a:p>
            <a:pPr marL="539750" lvl="2" indent="-269875" algn="just"/>
            <a:r>
              <a:rPr lang="en-US" sz="1400" dirty="0">
                <a:ea typeface="+mn-lt"/>
                <a:cs typeface="+mn-lt"/>
              </a:rPr>
              <a:t>Applied to real data</a:t>
            </a:r>
            <a:endParaRPr lang="en-US" sz="1400" dirty="0"/>
          </a:p>
          <a:p>
            <a:pPr marL="0" indent="0">
              <a:buNone/>
            </a:pPr>
            <a:endParaRPr lang="en-US" sz="1400" dirty="0"/>
          </a:p>
          <a:p>
            <a:pPr marL="0" indent="0">
              <a:buNone/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508647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63ED880E-6A1E-4C97-BA34-051D22CF2EA8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b="1" dirty="0"/>
              <a:t>Unfolding</a:t>
            </a:r>
            <a:r>
              <a:rPr lang="en-US" dirty="0"/>
              <a:t> 3-way table and use dimension reduction to monitor the process/evolution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6FD3FB-6FFC-41E1-A28F-74A6B488DE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tch Evolution Modeling (BEM):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59EE04-0836-43DE-B0AE-9B235276B5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September 201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3106ED-3EEC-4BDE-8FF7-140DC13B31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30</a:t>
            </a:fld>
            <a:endParaRPr lang="en-US"/>
          </a:p>
        </p:txBody>
      </p:sp>
      <p:pic>
        <p:nvPicPr>
          <p:cNvPr id="7" name="Picture 6" descr="Diagram&#10;&#10;Description automatically generated">
            <a:extLst>
              <a:ext uri="{FF2B5EF4-FFF2-40B4-BE49-F238E27FC236}">
                <a16:creationId xmlns:a16="http://schemas.microsoft.com/office/drawing/2014/main" id="{69EEE808-1B0F-4681-8971-6C24798650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1820" y="1694114"/>
            <a:ext cx="6058211" cy="250202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750EEDA-1307-4CE3-835B-13F0CC5AFF17}"/>
              </a:ext>
            </a:extLst>
          </p:cNvPr>
          <p:cNvSpPr txBox="1"/>
          <p:nvPr/>
        </p:nvSpPr>
        <p:spPr bwMode="gray">
          <a:xfrm>
            <a:off x="1052948" y="5188682"/>
            <a:ext cx="4211780" cy="84695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r>
              <a:rPr lang="en-US" dirty="0"/>
              <a:t>Advantage: easy to handle missing data since batches have different lengths.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7A744A4-CFA1-47C7-9634-2A5ECD3B35BF}"/>
              </a:ext>
            </a:extLst>
          </p:cNvPr>
          <p:cNvSpPr txBox="1"/>
          <p:nvPr/>
        </p:nvSpPr>
        <p:spPr bwMode="gray">
          <a:xfrm>
            <a:off x="7647708" y="1643997"/>
            <a:ext cx="2216727" cy="674255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Unfolding using PLS</a:t>
            </a:r>
          </a:p>
        </p:txBody>
      </p:sp>
      <p:pic>
        <p:nvPicPr>
          <p:cNvPr id="11" name="Picture 10" descr="Diagram&#10;&#10;Description automatically generated with medium confidence">
            <a:extLst>
              <a:ext uri="{FF2B5EF4-FFF2-40B4-BE49-F238E27FC236}">
                <a16:creationId xmlns:a16="http://schemas.microsoft.com/office/drawing/2014/main" id="{3DC69CCB-6922-4995-AA6E-6FF5B4BD59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2821" y="2079555"/>
            <a:ext cx="3918151" cy="2698889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990FD78-A3A6-4A27-9892-5EBE2695C9B2}"/>
              </a:ext>
            </a:extLst>
          </p:cNvPr>
          <p:cNvSpPr txBox="1"/>
          <p:nvPr/>
        </p:nvSpPr>
        <p:spPr bwMode="gray">
          <a:xfrm>
            <a:off x="7562821" y="5328627"/>
            <a:ext cx="4627592" cy="1090646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3-way table to 2-way matrix, such that each row corresponded to one time point in one particular batch.</a:t>
            </a:r>
            <a:endParaRPr lang="en-US" sz="1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5235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809802FC-ACFE-4ABD-BC71-3420CC7A55C3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b="1" dirty="0"/>
              <a:t>All </a:t>
            </a:r>
            <a:r>
              <a:rPr lang="en-US" dirty="0"/>
              <a:t>available data are used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CB3E4CF-048B-42B3-A4CD-9EC3747E1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tch Level Modeling (BLM):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0DECE93-F303-4BBF-8C52-C1FF5D9C95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September 201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93785CB-0EFD-4165-B4CC-D897BA411B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31</a:t>
            </a:fld>
            <a:endParaRPr lang="en-US"/>
          </a:p>
        </p:txBody>
      </p:sp>
      <p:pic>
        <p:nvPicPr>
          <p:cNvPr id="7" name="Picture 6" descr="Graphical user interface, text&#10;&#10;Description automatically generated with medium confidence">
            <a:extLst>
              <a:ext uri="{FF2B5EF4-FFF2-40B4-BE49-F238E27FC236}">
                <a16:creationId xmlns:a16="http://schemas.microsoft.com/office/drawing/2014/main" id="{B06B96AA-F79F-4989-892F-F82022971A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1820" y="1669389"/>
            <a:ext cx="7099998" cy="280540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49D289D-A773-438E-9A46-D447D1AD3481}"/>
              </a:ext>
            </a:extLst>
          </p:cNvPr>
          <p:cNvSpPr txBox="1"/>
          <p:nvPr/>
        </p:nvSpPr>
        <p:spPr bwMode="gray">
          <a:xfrm>
            <a:off x="861813" y="4851593"/>
            <a:ext cx="7377023" cy="1318298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285750" indent="-285750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Initial conditions data are often pooled with process evolution data to form a new X-matrix, X_B. This can be summarized using PCA.</a:t>
            </a:r>
          </a:p>
          <a:p>
            <a:pPr marL="285750" indent="-285750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Each row corresponded to one whole batch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BF94A6-FFC9-4352-AD2F-84754E7A36AE}"/>
              </a:ext>
            </a:extLst>
          </p:cNvPr>
          <p:cNvSpPr txBox="1"/>
          <p:nvPr/>
        </p:nvSpPr>
        <p:spPr bwMode="gray">
          <a:xfrm>
            <a:off x="8460510" y="2318327"/>
            <a:ext cx="3195782" cy="143163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r>
              <a:rPr lang="en-US" dirty="0"/>
              <a:t>Provided that Y-data, the X_B matrix may also be related to the results using PLS.</a:t>
            </a:r>
            <a:endParaRPr lang="en-US" sz="1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1676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BAE8162-8B54-4033-9F14-B62EB90D31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32</a:t>
            </a:fld>
            <a:endParaRPr lang="en-US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B1AA37A4-D639-4B01-B6B5-FACD67AC443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55276" y="3166453"/>
            <a:ext cx="4500000" cy="1368601"/>
          </a:xfrm>
        </p:spPr>
        <p:txBody>
          <a:bodyPr/>
          <a:lstStyle/>
          <a:p>
            <a:r>
              <a:rPr lang="en-US" dirty="0"/>
              <a:t>Mentor: </a:t>
            </a:r>
            <a:r>
              <a:rPr lang="en-US" b="0" dirty="0"/>
              <a:t>Shyam Panjwani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6ED320A-EA5F-4D4E-A754-FD1511CB7D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 !</a:t>
            </a:r>
          </a:p>
        </p:txBody>
      </p:sp>
      <p:sp>
        <p:nvSpPr>
          <p:cNvPr id="6" name="Subtitle 3">
            <a:extLst>
              <a:ext uri="{FF2B5EF4-FFF2-40B4-BE49-F238E27FC236}">
                <a16:creationId xmlns:a16="http://schemas.microsoft.com/office/drawing/2014/main" id="{A9567797-F266-4957-8FD5-083962376BEA}"/>
              </a:ext>
            </a:extLst>
          </p:cNvPr>
          <p:cNvSpPr txBox="1">
            <a:spLocks/>
          </p:cNvSpPr>
          <p:nvPr/>
        </p:nvSpPr>
        <p:spPr bwMode="black">
          <a:xfrm>
            <a:off x="6855276" y="3602847"/>
            <a:ext cx="4500000" cy="72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24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24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24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24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24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24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24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24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Mentor: </a:t>
            </a:r>
            <a:r>
              <a:rPr lang="en-US" b="0" dirty="0"/>
              <a:t>Hao Wei</a:t>
            </a:r>
          </a:p>
          <a:p>
            <a:r>
              <a:rPr lang="en-US" dirty="0"/>
              <a:t>Mentor: </a:t>
            </a:r>
            <a:r>
              <a:rPr lang="en-US" b="0" dirty="0"/>
              <a:t>Kostas </a:t>
            </a:r>
            <a:r>
              <a:rPr lang="en-US" b="0" dirty="0" err="1"/>
              <a:t>Spetsieris</a:t>
            </a:r>
            <a:r>
              <a:rPr lang="en-US" b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84561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08434" y="2989333"/>
            <a:ext cx="5669953" cy="1440753"/>
          </a:xfrm>
        </p:spPr>
        <p:txBody>
          <a:bodyPr/>
          <a:lstStyle/>
          <a:p>
            <a:r>
              <a:rPr lang="en-US" dirty="0"/>
              <a:t>Object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1912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7">
            <a:extLst>
              <a:ext uri="{FF2B5EF4-FFF2-40B4-BE49-F238E27FC236}">
                <a16:creationId xmlns:a16="http://schemas.microsoft.com/office/drawing/2014/main" id="{F9EF98D3-6433-434A-B0D7-84E09DDB5665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b="1" dirty="0"/>
              <a:t>Objective</a:t>
            </a:r>
            <a:r>
              <a:rPr lang="en-US" dirty="0"/>
              <a:t>: understand projection methods (PLS, dynamical PLS) and evaluate them with synthetic data 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A37CD0A-9684-49C8-9F6F-D4E3C96B1B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verview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0DAA03A-31E6-43B9-AFB8-86E05EA3F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AD9179-7A6B-4268-BEB2-F3B8EB06115B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Arial"/>
                <a:cs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D13FD42-D89E-400D-B134-ADCBFF33A76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0281" y="1482660"/>
            <a:ext cx="10800000" cy="4752000"/>
          </a:xfrm>
        </p:spPr>
        <p:txBody>
          <a:bodyPr/>
          <a:lstStyle/>
          <a:p>
            <a:pPr lvl="1"/>
            <a:r>
              <a:rPr lang="en-US" b="1" dirty="0">
                <a:solidFill>
                  <a:schemeClr val="accent2"/>
                </a:solidFill>
              </a:rPr>
              <a:t>Projection Methods for Megavariate data analysis: </a:t>
            </a:r>
          </a:p>
          <a:p>
            <a:pPr lvl="2"/>
            <a:r>
              <a:rPr lang="en-US" dirty="0">
                <a:solidFill>
                  <a:schemeClr val="tx1"/>
                </a:solidFill>
              </a:rPr>
              <a:t>Higher-dimension (&gt;3D)                                               lower-dimension (a line, a plane, sphere)</a:t>
            </a:r>
          </a:p>
          <a:p>
            <a:pPr lvl="2"/>
            <a:r>
              <a:rPr lang="en-US" dirty="0">
                <a:solidFill>
                  <a:schemeClr val="tx1"/>
                </a:solidFill>
              </a:rPr>
              <a:t>PLS: regression prediction problem</a:t>
            </a:r>
          </a:p>
          <a:p>
            <a:pPr lvl="2"/>
            <a:r>
              <a:rPr lang="en-US" dirty="0">
                <a:solidFill>
                  <a:schemeClr val="tx1"/>
                </a:solidFill>
              </a:rPr>
              <a:t>Main idea: original variable is a </a:t>
            </a:r>
            <a:r>
              <a:rPr lang="en-US" u="sng" dirty="0">
                <a:solidFill>
                  <a:schemeClr val="tx1"/>
                </a:solidFill>
              </a:rPr>
              <a:t>linear combination </a:t>
            </a:r>
            <a:r>
              <a:rPr lang="en-US" dirty="0">
                <a:solidFill>
                  <a:schemeClr val="tx1"/>
                </a:solidFill>
              </a:rPr>
              <a:t>of new (latent) variables </a:t>
            </a:r>
            <a:r>
              <a:rPr lang="en-US" dirty="0" err="1">
                <a:solidFill>
                  <a:schemeClr val="tx1"/>
                </a:solidFill>
              </a:rPr>
              <a:t>s.t.</a:t>
            </a:r>
            <a:r>
              <a:rPr lang="en-US" dirty="0">
                <a:solidFill>
                  <a:schemeClr val="tx1"/>
                </a:solidFill>
              </a:rPr>
              <a:t> the covariance between latent variables is maximized.</a:t>
            </a:r>
          </a:p>
          <a:p>
            <a:pPr lvl="1"/>
            <a:r>
              <a:rPr lang="en-US" b="1" dirty="0">
                <a:solidFill>
                  <a:schemeClr val="accent2"/>
                </a:solidFill>
              </a:rPr>
              <a:t>Problems &amp; Challenges: </a:t>
            </a:r>
          </a:p>
          <a:p>
            <a:pPr lvl="2"/>
            <a:r>
              <a:rPr lang="en-US" dirty="0">
                <a:solidFill>
                  <a:schemeClr val="tx1"/>
                </a:solidFill>
              </a:rPr>
              <a:t>PLS only consider </a:t>
            </a:r>
            <a:r>
              <a:rPr lang="en-US" u="sng" dirty="0">
                <a:solidFill>
                  <a:schemeClr val="tx1"/>
                </a:solidFill>
              </a:rPr>
              <a:t>static relationship</a:t>
            </a:r>
            <a:r>
              <a:rPr lang="en-US" dirty="0">
                <a:solidFill>
                  <a:schemeClr val="tx1"/>
                </a:solidFill>
              </a:rPr>
              <a:t> between inputs and outputs, left large covariance unmodeled.</a:t>
            </a:r>
          </a:p>
          <a:p>
            <a:pPr lvl="2"/>
            <a:r>
              <a:rPr lang="en-US" dirty="0">
                <a:solidFill>
                  <a:schemeClr val="tx1"/>
                </a:solidFill>
              </a:rPr>
              <a:t>Commonly see dynamical relationship in reality</a:t>
            </a:r>
          </a:p>
          <a:p>
            <a:pPr lvl="1"/>
            <a:r>
              <a:rPr lang="en-US" b="1" dirty="0">
                <a:solidFill>
                  <a:schemeClr val="accent2"/>
                </a:solidFill>
              </a:rPr>
              <a:t>If adding time components:</a:t>
            </a:r>
          </a:p>
          <a:p>
            <a:pPr lvl="2"/>
            <a:r>
              <a:rPr lang="en-US" dirty="0">
                <a:solidFill>
                  <a:schemeClr val="tx1"/>
                </a:solidFill>
              </a:rPr>
              <a:t>Understand the traditional PLS approach with some add-on to handle the dynamical parts: neural network framework, transformation filter, etc.</a:t>
            </a:r>
          </a:p>
          <a:p>
            <a:pPr lvl="2"/>
            <a:r>
              <a:rPr lang="en-US" dirty="0">
                <a:solidFill>
                  <a:schemeClr val="tx1"/>
                </a:solidFill>
              </a:rPr>
              <a:t>Understand  batch statistical process control approach such as batch evolution modeling (BEM) and batch level modeling (BLM)</a:t>
            </a:r>
          </a:p>
          <a:p>
            <a:pPr lvl="2"/>
            <a:r>
              <a:rPr lang="en-US" dirty="0">
                <a:solidFill>
                  <a:schemeClr val="tx1"/>
                </a:solidFill>
              </a:rPr>
              <a:t>Specifically, implement the dynamical-inner PLS algorithm </a:t>
            </a:r>
            <a:r>
              <a:rPr lang="en-US" u="sng" dirty="0">
                <a:solidFill>
                  <a:schemeClr val="tx1"/>
                </a:solidFill>
              </a:rPr>
              <a:t>with consistent inner and outer relation </a:t>
            </a:r>
            <a:r>
              <a:rPr lang="en-US" dirty="0">
                <a:solidFill>
                  <a:schemeClr val="tx1"/>
                </a:solidFill>
              </a:rPr>
              <a:t>in </a:t>
            </a:r>
            <a:r>
              <a:rPr lang="en-US" dirty="0" err="1">
                <a:solidFill>
                  <a:schemeClr val="tx1"/>
                </a:solidFill>
              </a:rPr>
              <a:t>Jupyter</a:t>
            </a:r>
            <a:r>
              <a:rPr lang="en-US" dirty="0">
                <a:solidFill>
                  <a:schemeClr val="tx1"/>
                </a:solidFill>
              </a:rPr>
              <a:t> Notebook</a:t>
            </a:r>
          </a:p>
          <a:p>
            <a:pPr marL="270000" lvl="2" indent="0">
              <a:buNone/>
            </a:pPr>
            <a:endParaRPr lang="en-US" b="1" dirty="0">
              <a:solidFill>
                <a:schemeClr val="accent2"/>
              </a:solidFill>
            </a:endParaRPr>
          </a:p>
          <a:p>
            <a:endParaRPr lang="en-US" dirty="0"/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F943B99C-B7A1-4BFF-AABF-75B1D89B7A2E}"/>
              </a:ext>
            </a:extLst>
          </p:cNvPr>
          <p:cNvCxnSpPr/>
          <p:nvPr/>
        </p:nvCxnSpPr>
        <p:spPr bwMode="gray">
          <a:xfrm>
            <a:off x="4326193" y="2133600"/>
            <a:ext cx="2300749" cy="0"/>
          </a:xfrm>
          <a:prstGeom prst="straightConnector1">
            <a:avLst/>
          </a:prstGeom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0932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EBBED5-9EAB-4E13-B489-E4E88F1959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4344" y="1462158"/>
            <a:ext cx="6586716" cy="1440753"/>
          </a:xfrm>
        </p:spPr>
        <p:txBody>
          <a:bodyPr/>
          <a:lstStyle/>
          <a:p>
            <a:r>
              <a:rPr lang="en-US" dirty="0"/>
              <a:t>Basic Concept </a:t>
            </a:r>
            <a:br>
              <a:rPr lang="en-US" dirty="0"/>
            </a:br>
            <a:r>
              <a:rPr lang="en-US" dirty="0"/>
              <a:t>For this Project</a:t>
            </a:r>
            <a:endParaRPr lang="en-US" dirty="0">
              <a:ea typeface="+mj-lt"/>
              <a:cs typeface="+mj-lt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1A9EAD-9F22-4ED7-9D62-612E50B0B7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3839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8A7C5C08-7EF5-4810-A1CF-CC2C5D06E70F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981821" y="1174891"/>
            <a:ext cx="10498979" cy="360639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ach observation is represented by 2 points, one in the X space and one in the Y spac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413221F-FC5F-4D83-AECA-3A65F9A070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tial Least Squared (PLS):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6471097-41C5-4ECE-A74B-5718881ADF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September 201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51C91DD-EE36-412C-BCF3-97C732AFB1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7</a:t>
            </a:fld>
            <a:endParaRPr lang="en-US"/>
          </a:p>
        </p:txBody>
      </p:sp>
      <p:pic>
        <p:nvPicPr>
          <p:cNvPr id="7" name="Picture 6" descr="Chart&#10;&#10;Description automatically generated">
            <a:extLst>
              <a:ext uri="{FF2B5EF4-FFF2-40B4-BE49-F238E27FC236}">
                <a16:creationId xmlns:a16="http://schemas.microsoft.com/office/drawing/2014/main" id="{EFCBC1BD-92F6-4F52-9586-9D34424CD7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47885" y="2980423"/>
            <a:ext cx="6312224" cy="3448227"/>
          </a:xfrm>
          <a:prstGeom prst="rect">
            <a:avLst/>
          </a:prstGeom>
        </p:spPr>
      </p:pic>
      <p:pic>
        <p:nvPicPr>
          <p:cNvPr id="9" name="Picture 8" descr="Chart, diagram&#10;&#10;Description automatically generated">
            <a:extLst>
              <a:ext uri="{FF2B5EF4-FFF2-40B4-BE49-F238E27FC236}">
                <a16:creationId xmlns:a16="http://schemas.microsoft.com/office/drawing/2014/main" id="{AC1229B9-0102-4A07-984B-E137AD53F4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207" y="1842693"/>
            <a:ext cx="5459678" cy="26217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3CBDA75-E314-405B-9473-DCBDBA5FB5AC}"/>
              </a:ext>
            </a:extLst>
          </p:cNvPr>
          <p:cNvSpPr txBox="1"/>
          <p:nvPr/>
        </p:nvSpPr>
        <p:spPr bwMode="gray">
          <a:xfrm>
            <a:off x="1145309" y="5163127"/>
            <a:ext cx="3149600" cy="1080655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cale data: mean zero and unit variance scheme</a:t>
            </a:r>
          </a:p>
        </p:txBody>
      </p:sp>
    </p:spTree>
    <p:extLst>
      <p:ext uri="{BB962C8B-B14F-4D97-AF65-F5344CB8AC3E}">
        <p14:creationId xmlns:p14="http://schemas.microsoft.com/office/powerpoint/2010/main" val="135575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93A89510-6C47-4D96-B119-E9CF7F914E16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/>
              <a:t>Component construction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1166CA8-24D4-415F-8735-97276F746F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tial Least Squared (PLS):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49577AF-D31F-462B-9AEA-ED6D667798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September 201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5AC2FC6-0E57-4A4D-B9AC-00536ACD23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8</a:t>
            </a:fld>
            <a:endParaRPr lang="en-US"/>
          </a:p>
        </p:txBody>
      </p:sp>
      <p:pic>
        <p:nvPicPr>
          <p:cNvPr id="7" name="Picture 6" descr="Chart, scatter chart&#10;&#10;Description automatically generated">
            <a:extLst>
              <a:ext uri="{FF2B5EF4-FFF2-40B4-BE49-F238E27FC236}">
                <a16:creationId xmlns:a16="http://schemas.microsoft.com/office/drawing/2014/main" id="{7BB53064-0941-4620-BB40-B2B1209FD6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2584" y="1511172"/>
            <a:ext cx="6048039" cy="3611419"/>
          </a:xfrm>
          <a:prstGeom prst="rect">
            <a:avLst/>
          </a:prstGeom>
        </p:spPr>
      </p:pic>
      <p:pic>
        <p:nvPicPr>
          <p:cNvPr id="9" name="Picture 8" descr="Chart, scatter chart&#10;&#10;Description automatically generated">
            <a:extLst>
              <a:ext uri="{FF2B5EF4-FFF2-40B4-BE49-F238E27FC236}">
                <a16:creationId xmlns:a16="http://schemas.microsoft.com/office/drawing/2014/main" id="{EBB4F56A-9AB2-47B4-B494-56082CB5D1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4672" y="4043372"/>
            <a:ext cx="6048039" cy="273753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9A09335-47D4-40F7-9AB4-9168C8D69DA7}"/>
              </a:ext>
            </a:extLst>
          </p:cNvPr>
          <p:cNvSpPr txBox="1"/>
          <p:nvPr/>
        </p:nvSpPr>
        <p:spPr bwMode="gray">
          <a:xfrm>
            <a:off x="7431065" y="1636464"/>
            <a:ext cx="4053177" cy="960582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• The first PLS-component is a line in the X-space and a line in the Y-space </a:t>
            </a:r>
            <a:endParaRPr lang="en-US" sz="1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6F15E94-3920-49AC-8A58-22EDFD4204F3}"/>
              </a:ext>
            </a:extLst>
          </p:cNvPr>
          <p:cNvSpPr txBox="1"/>
          <p:nvPr/>
        </p:nvSpPr>
        <p:spPr bwMode="gray">
          <a:xfrm>
            <a:off x="7457569" y="4675385"/>
            <a:ext cx="4618183" cy="131053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• The second PLS component is represented 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by lines in the X- and Y-spaces such that  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X-lines are orthogonal (not true for Y-lines).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13" name="Picture 12" descr="Chart, scatter chart&#10;&#10;Description automatically generated">
            <a:extLst>
              <a:ext uri="{FF2B5EF4-FFF2-40B4-BE49-F238E27FC236}">
                <a16:creationId xmlns:a16="http://schemas.microsoft.com/office/drawing/2014/main" id="{3D2CE7C7-C4D2-41D9-96B3-128B4855430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31065" y="2539691"/>
            <a:ext cx="2183607" cy="139256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A56953AD-EFE0-4DFF-AD2F-626A39820C59}"/>
              </a:ext>
            </a:extLst>
          </p:cNvPr>
          <p:cNvSpPr txBox="1"/>
          <p:nvPr/>
        </p:nvSpPr>
        <p:spPr bwMode="gray">
          <a:xfrm>
            <a:off x="9892145" y="2844801"/>
            <a:ext cx="2183607" cy="88669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Lines that maximize </a:t>
            </a:r>
            <a:r>
              <a:rPr lang="en-US" dirty="0" err="1"/>
              <a:t>Corr</a:t>
            </a:r>
            <a:r>
              <a:rPr lang="en-US" dirty="0"/>
              <a:t>(</a:t>
            </a:r>
            <a:r>
              <a:rPr lang="en-US" dirty="0" err="1"/>
              <a:t>ti,ui</a:t>
            </a:r>
            <a:r>
              <a:rPr lang="en-US" dirty="0"/>
              <a:t>)</a:t>
            </a:r>
            <a:endParaRPr lang="en-US" sz="1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7586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Chart, scatter chart&#10;&#10;Description automatically generated">
            <a:extLst>
              <a:ext uri="{FF2B5EF4-FFF2-40B4-BE49-F238E27FC236}">
                <a16:creationId xmlns:a16="http://schemas.microsoft.com/office/drawing/2014/main" id="{81BD07EE-5179-4B84-B7A2-EC6E52646E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5206" y="1950012"/>
            <a:ext cx="6095207" cy="3777806"/>
          </a:xfrm>
          <a:prstGeom prst="rect">
            <a:avLst/>
          </a:prstGeom>
        </p:spPr>
      </p:pic>
      <p:sp>
        <p:nvSpPr>
          <p:cNvPr id="2" name="Subtitle 1">
            <a:extLst>
              <a:ext uri="{FF2B5EF4-FFF2-40B4-BE49-F238E27FC236}">
                <a16:creationId xmlns:a16="http://schemas.microsoft.com/office/drawing/2014/main" id="{0513ED5F-0AE9-432E-8651-D17FFEBF27E3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464584" y="1130183"/>
            <a:ext cx="10798461" cy="252000"/>
          </a:xfrm>
        </p:spPr>
        <p:txBody>
          <a:bodyPr/>
          <a:lstStyle/>
          <a:p>
            <a:r>
              <a:rPr lang="en-US" dirty="0"/>
              <a:t>Outer and inner modeling: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22E17EA-3969-4022-A513-446DAE5B05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tial Least Squared (PLS):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FB1AE5E-29DD-46EB-A9A7-63765A7711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September 201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771779-7CA3-40F9-B7BD-C47E354431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9</a:t>
            </a:fld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EC1672D-9472-4C2B-A7CF-60E5AC92692B}"/>
              </a:ext>
            </a:extLst>
          </p:cNvPr>
          <p:cNvSpPr txBox="1">
            <a:spLocks/>
          </p:cNvSpPr>
          <p:nvPr/>
        </p:nvSpPr>
        <p:spPr>
          <a:xfrm>
            <a:off x="392006" y="1628419"/>
            <a:ext cx="6489085" cy="471726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7"/>
              </a:buBlip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7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7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7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7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Outer modeling</a:t>
            </a:r>
            <a:r>
              <a:rPr lang="en-US" dirty="0"/>
              <a:t>: get latent variable t and u by decomposition</a:t>
            </a:r>
          </a:p>
          <a:p>
            <a:r>
              <a:rPr lang="en-US" dirty="0"/>
              <a:t>		 from the scaled data input, X and Y.</a:t>
            </a:r>
          </a:p>
          <a:p>
            <a:r>
              <a:rPr lang="en-US" dirty="0"/>
              <a:t>t = </a:t>
            </a:r>
            <a:r>
              <a:rPr lang="en-US" dirty="0" err="1"/>
              <a:t>Xw</a:t>
            </a:r>
            <a:r>
              <a:rPr lang="en-US" dirty="0"/>
              <a:t> </a:t>
            </a:r>
          </a:p>
          <a:p>
            <a:r>
              <a:rPr lang="en-US" dirty="0"/>
              <a:t>u = </a:t>
            </a:r>
            <a:r>
              <a:rPr lang="en-US" dirty="0" err="1"/>
              <a:t>Yq</a:t>
            </a:r>
            <a:r>
              <a:rPr lang="en-US" dirty="0"/>
              <a:t>   w and q is the weighted vectors (eigenvectors).</a:t>
            </a:r>
          </a:p>
          <a:p>
            <a:r>
              <a:rPr lang="en-US" dirty="0"/>
              <a:t>             T = [t1 t2 … ] and  U = [u1 u2 …] </a:t>
            </a:r>
          </a:p>
          <a:p>
            <a:endParaRPr lang="en-US" dirty="0"/>
          </a:p>
          <a:p>
            <a:r>
              <a:rPr lang="en-US" b="1" dirty="0"/>
              <a:t>Inner modeling</a:t>
            </a:r>
            <a:r>
              <a:rPr lang="en-US" dirty="0"/>
              <a:t>: get relationship between u and t.</a:t>
            </a:r>
          </a:p>
          <a:p>
            <a:r>
              <a:rPr lang="en-US" dirty="0"/>
              <a:t>u = </a:t>
            </a:r>
            <a:r>
              <a:rPr lang="en-US" dirty="0" err="1"/>
              <a:t>bt</a:t>
            </a:r>
            <a:r>
              <a:rPr lang="en-US" dirty="0"/>
              <a:t> + r</a:t>
            </a:r>
          </a:p>
          <a:p>
            <a:r>
              <a:rPr lang="en-US" dirty="0"/>
              <a:t>	  </a:t>
            </a:r>
            <a:r>
              <a:rPr lang="en-US" dirty="0">
                <a:solidFill>
                  <a:srgbClr val="FF0000"/>
                </a:solidFill>
              </a:rPr>
              <a:t>Linear</a:t>
            </a:r>
            <a:r>
              <a:rPr lang="en-US" dirty="0"/>
              <a:t> </a:t>
            </a:r>
            <a:r>
              <a:rPr lang="en-US" dirty="0">
                <a:solidFill>
                  <a:srgbClr val="FF0000"/>
                </a:solidFill>
              </a:rPr>
              <a:t>static</a:t>
            </a:r>
            <a:r>
              <a:rPr lang="en-US" dirty="0"/>
              <a:t> relationship between latent variables, </a:t>
            </a:r>
          </a:p>
          <a:p>
            <a:r>
              <a:rPr lang="en-US" dirty="0"/>
              <a:t>	  b is the coefficients and r is the residuals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E56DA15-7419-481D-8F20-6849E22898FC}"/>
              </a:ext>
            </a:extLst>
          </p:cNvPr>
          <p:cNvSpPr/>
          <p:nvPr/>
        </p:nvSpPr>
        <p:spPr bwMode="gray">
          <a:xfrm>
            <a:off x="392006" y="2627667"/>
            <a:ext cx="803564" cy="96058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0022307-D483-4820-A7C3-CDA6C5B64BA4}"/>
              </a:ext>
            </a:extLst>
          </p:cNvPr>
          <p:cNvSpPr/>
          <p:nvPr/>
        </p:nvSpPr>
        <p:spPr bwMode="gray">
          <a:xfrm>
            <a:off x="412158" y="5103091"/>
            <a:ext cx="1093370" cy="42025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8961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1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6"/>
  <p:tag name="MIO_HDS" val="True"/>
  <p:tag name="MIO_SKIPVERSION" val="01.01.0001 00:00:00"/>
  <p:tag name="MIO_EKGUID" val="106612b7-7cda-4c66-a943-3c88b56a92d2"/>
  <p:tag name="MIO_UPDATE" val="True"/>
  <p:tag name="MIO_VERSION" val="05.09.2018 15:12:17"/>
  <p:tag name="MIO_DBID" val="8E7267AE-489F-4B02-8040-8A98451BF141"/>
  <p:tag name="MIO_LASTDOWNLOADED" val="25.09.2018 11:11:43"/>
  <p:tag name="MIO_OBJECTNAME" val="Master Bayer AG 16:9 pre final"/>
  <p:tag name="MIO_CDID" val="cd9a71c7-8ed9-41a1-8303-1a6d1985851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1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6"/>
  <p:tag name="MIO_HDS" val="True"/>
  <p:tag name="MIO_SKIPVERSION" val="01.01.0001 00:00:00"/>
  <p:tag name="MIO_EKGUID" val="106612b7-7cda-4c66-a943-3c88b56a92d2"/>
  <p:tag name="MIO_UPDATE" val="True"/>
  <p:tag name="MIO_VERSION" val="05.09.2018 15:12:17"/>
  <p:tag name="MIO_DBID" val="8E7267AE-489F-4B02-8040-8A98451BF141"/>
  <p:tag name="MIO_LASTDOWNLOADED" val="25.09.2018 11:11:43"/>
  <p:tag name="MIO_OBJECTNAME" val="Master Bayer AG 16:9 pre final"/>
  <p:tag name="MIO_CDID" val="cd9a71c7-8ed9-41a1-8303-1a6d1985851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heme/theme1.xml><?xml version="1.0" encoding="utf-8"?>
<a:theme xmlns:a="http://schemas.openxmlformats.org/drawingml/2006/main" name="1_PR_BAG_PPT-master_16-9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>
        <a:no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/>
  <a:custClrLst>
    <a:custClr name="Raspberry">
      <a:srgbClr val="D30F4B"/>
    </a:custClr>
    <a:custClr name="Fuchs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36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  <a:extLst>
    <a:ext uri="{05A4C25C-085E-4340-85A3-A5531E510DB2}">
      <thm15:themeFamily xmlns:thm15="http://schemas.microsoft.com/office/thememl/2012/main" name="Präsentation2" id="{9F44F183-6967-4C37-BC3A-F846C6343AA8}" vid="{2CD6D4D1-CF9C-4B16-993C-2A26F7415D1B}"/>
    </a:ext>
  </a:extLst>
</a:theme>
</file>

<file path=ppt/theme/theme2.xml><?xml version="1.0" encoding="utf-8"?>
<a:theme xmlns:a="http://schemas.openxmlformats.org/drawingml/2006/main" name="2_PR_BAG_PPT-master_16-9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>
        <a:no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/>
  <a:custClrLst>
    <a:custClr name="Raspberry">
      <a:srgbClr val="D30F4B"/>
    </a:custClr>
    <a:custClr name="Fuchs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36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  <a:extLst>
    <a:ext uri="{05A4C25C-085E-4340-85A3-A5531E510DB2}">
      <thm15:themeFamily xmlns:thm15="http://schemas.microsoft.com/office/thememl/2012/main" name="Präsentation2" id="{9F44F183-6967-4C37-BC3A-F846C6343AA8}" vid="{2CD6D4D1-CF9C-4B16-993C-2A26F7415D1B}"/>
    </a:ext>
  </a:extLst>
</a:theme>
</file>

<file path=ppt/theme/theme3.xml><?xml version="1.0" encoding="utf-8"?>
<a:theme xmlns:a="http://schemas.openxmlformats.org/drawingml/2006/main" name="Office Theme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66BFFEA66D76E469B5F693411C498B7" ma:contentTypeVersion="13" ma:contentTypeDescription="Create a new document." ma:contentTypeScope="" ma:versionID="18b8e9ea3ea2f20f0f517633bd8064ad">
  <xsd:schema xmlns:xsd="http://www.w3.org/2001/XMLSchema" xmlns:xs="http://www.w3.org/2001/XMLSchema" xmlns:p="http://schemas.microsoft.com/office/2006/metadata/properties" xmlns:ns1="http://schemas.microsoft.com/sharepoint/v3" xmlns:ns2="1a4d292e-883c-434b-96e3-060cfff16c86" xmlns:ns3="76f5dde2-4d3f-46c3-919e-48ebb6e11128" targetNamespace="http://schemas.microsoft.com/office/2006/metadata/properties" ma:root="true" ma:fieldsID="9f0001f88f5865d390ed6948c6133fd0" ns1:_="" ns2:_="" ns3:_="">
    <xsd:import namespace="http://schemas.microsoft.com/sharepoint/v3"/>
    <xsd:import namespace="1a4d292e-883c-434b-96e3-060cfff16c86"/>
    <xsd:import namespace="76f5dde2-4d3f-46c3-919e-48ebb6e11128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2:TaxCatchAllLabel" minOccurs="0"/>
                <xsd:element ref="ns1:_dlc_Exempt" minOccurs="0"/>
                <xsd:element ref="ns1:_dlc_ExpireDateSaved" minOccurs="0"/>
                <xsd:element ref="ns1:_dlc_ExpireDate" minOccurs="0"/>
                <xsd:element ref="ns3:MediaServiceMetadata" minOccurs="0"/>
                <xsd:element ref="ns3:MediaServiceFastMetadata" minOccurs="0"/>
                <xsd:element ref="ns3:lcf76f155ced4ddcb4097134ff3c332f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dlc_Exempt" ma:index="10" nillable="true" ma:displayName="Exempt from Policy" ma:hidden="true" ma:internalName="_dlc_Exempt" ma:readOnly="false">
      <xsd:simpleType>
        <xsd:restriction base="dms:Unknown"/>
      </xsd:simpleType>
    </xsd:element>
    <xsd:element name="_dlc_ExpireDateSaved" ma:index="11" nillable="true" ma:displayName="Original Expiration Date" ma:hidden="true" ma:internalName="_dlc_ExpireDateSaved" ma:readOnly="false">
      <xsd:simpleType>
        <xsd:restriction base="dms:DateTime"/>
      </xsd:simpleType>
    </xsd:element>
    <xsd:element name="_dlc_ExpireDate" ma:index="12" nillable="true" ma:displayName="Expiration Date" ma:hidden="true" ma:internalName="_dlc_ExpireDate" ma:readOnly="fals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4d292e-883c-434b-96e3-060cfff16c86" elementFormDefault="qualified">
    <xsd:import namespace="http://schemas.microsoft.com/office/2006/documentManagement/types"/>
    <xsd:import namespace="http://schemas.microsoft.com/office/infopath/2007/PartnerControls"/>
    <xsd:element name="TaxCatchAll" ma:index="8" nillable="true" ma:displayName="Taxonomy Catch All Column" ma:hidden="true" ma:list="{7d4cbee1-95d7-4919-a04d-21c2196fb0d4}" ma:internalName="TaxCatchAll" ma:showField="CatchAllData" ma:web="d41b3cd8-d8b9-4180-acca-ab87ecd0af6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9" nillable="true" ma:displayName="Taxonomy Catch All Column1" ma:hidden="true" ma:list="{7d4cbee1-95d7-4919-a04d-21c2196fb0d4}" ma:internalName="TaxCatchAllLabel" ma:readOnly="true" ma:showField="CatchAllDataLabel" ma:web="d41b3cd8-d8b9-4180-acca-ab87ecd0af6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f5dde2-4d3f-46c3-919e-48ebb6e1112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7bc43322-b630-4bac-8b27-31def233d1d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haredContentType xmlns="Microsoft.SharePoint.Taxonomy.ContentTypeSync" SourceId="7bc43322-b630-4bac-8b27-31def233d1d0" ContentTypeId="0x0101" PreviousValue="false"/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a4d292e-883c-434b-96e3-060cfff16c86" xsi:nil="true"/>
    <_dlc_ExpireDateSaved xmlns="http://schemas.microsoft.com/sharepoint/v3" xsi:nil="true"/>
    <_dlc_ExpireDate xmlns="http://schemas.microsoft.com/sharepoint/v3" xsi:nil="true"/>
    <_dlc_Exempt xmlns="http://schemas.microsoft.com/sharepoint/v3" xsi:nil="true"/>
    <lcf76f155ced4ddcb4097134ff3c332f xmlns="76f5dde2-4d3f-46c3-919e-48ebb6e11128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A563203E-4C28-4E6D-B9E3-FC055DF38FD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1a4d292e-883c-434b-96e3-060cfff16c86"/>
    <ds:schemaRef ds:uri="76f5dde2-4d3f-46c3-919e-48ebb6e1112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C62E744-1254-44FC-9EE4-BCDE420EB401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C19E68C5-CEDD-45EB-83F5-4F9C459CBA24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75A7363E-0CEF-48EA-8A9B-DA31285B7052}">
  <ds:schemaRefs>
    <ds:schemaRef ds:uri="1a4d292e-883c-434b-96e3-060cfff16c86"/>
    <ds:schemaRef ds:uri="d48c9106-8193-4c66-97b9-15cf8f0975f8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XML/1998/namespace"/>
    <ds:schemaRef ds:uri="76f5dde2-4d3f-46c3-919e-48ebb6e11128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_07272020</Template>
  <TotalTime>16595</TotalTime>
  <Words>2840</Words>
  <Application>Microsoft Office PowerPoint</Application>
  <PresentationFormat>Custom</PresentationFormat>
  <Paragraphs>548</Paragraphs>
  <Slides>32</Slides>
  <Notes>17</Notes>
  <HiddenSlides>4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32</vt:i4>
      </vt:variant>
    </vt:vector>
  </HeadingPairs>
  <TitlesOfParts>
    <vt:vector size="37" baseType="lpstr">
      <vt:lpstr>Arial</vt:lpstr>
      <vt:lpstr>Calibri</vt:lpstr>
      <vt:lpstr>Times New Roman</vt:lpstr>
      <vt:lpstr>1_PR_BAG_PPT-master_16-9</vt:lpstr>
      <vt:lpstr>2_PR_BAG_PPT-master_16-9</vt:lpstr>
      <vt:lpstr>PowerPoint Presentation</vt:lpstr>
      <vt:lpstr>Evaluation of Dynamic Partial Least Square Method</vt:lpstr>
      <vt:lpstr>Outlines</vt:lpstr>
      <vt:lpstr>Objective</vt:lpstr>
      <vt:lpstr>Overview</vt:lpstr>
      <vt:lpstr>Basic Concept  For this Project</vt:lpstr>
      <vt:lpstr>Partial Least Squared (PLS):</vt:lpstr>
      <vt:lpstr>Partial Least Squared (PLS):</vt:lpstr>
      <vt:lpstr>Partial Least Squared (PLS):</vt:lpstr>
      <vt:lpstr>My work focus on dynamical PLS approach:</vt:lpstr>
      <vt:lpstr>Literature on  Dynamical PLS</vt:lpstr>
      <vt:lpstr>Nonlinear finite impulse response (NFIR) modeling via neural net PLS</vt:lpstr>
      <vt:lpstr>Dynamic PLS for process control</vt:lpstr>
      <vt:lpstr>Modeling &amp; Control of MVA processes Dynamic PLS approach</vt:lpstr>
      <vt:lpstr>Overview</vt:lpstr>
      <vt:lpstr>Dynamic-inner PLS</vt:lpstr>
      <vt:lpstr>Dynamic-inner PLS</vt:lpstr>
      <vt:lpstr>Implement DiPLS method in 3 case studies </vt:lpstr>
      <vt:lpstr>Case studies in synthetic data: </vt:lpstr>
      <vt:lpstr>Results: case study 1 -- static process for X and Y</vt:lpstr>
      <vt:lpstr>Case1: static process comparison with sklearn package</vt:lpstr>
      <vt:lpstr>Parameter Tunning for DiPLS:</vt:lpstr>
      <vt:lpstr>Case study 2: Dynamic process for X, but static process for Y</vt:lpstr>
      <vt:lpstr>Case2: comparison with sklearn package</vt:lpstr>
      <vt:lpstr>Parameter Tunning for DiPLS: Case 2</vt:lpstr>
      <vt:lpstr>Case study 3: Dynamic process for Y, but static process for X</vt:lpstr>
      <vt:lpstr>Case3: comparison with sklearn package</vt:lpstr>
      <vt:lpstr>case 4: Both X and Y are dynamical process</vt:lpstr>
      <vt:lpstr>Conclusion</vt:lpstr>
      <vt:lpstr>Batch Evolution Modeling (BEM):</vt:lpstr>
      <vt:lpstr>Batch Level Modeling (BLM):</vt:lpstr>
      <vt:lpstr>Thank you !</vt:lpstr>
    </vt:vector>
  </TitlesOfParts>
  <Company>Bay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ctive performance of physical activity on mortality using UK Biobank and NHANES dataset</dc:title>
  <dc:creator>Shiyao Xu</dc:creator>
  <cp:lastModifiedBy>Vicky Zhu</cp:lastModifiedBy>
  <cp:revision>108</cp:revision>
  <cp:lastPrinted>2021-08-18T16:06:08Z</cp:lastPrinted>
  <dcterms:created xsi:type="dcterms:W3CDTF">2020-07-28T03:50:19Z</dcterms:created>
  <dcterms:modified xsi:type="dcterms:W3CDTF">2022-09-03T02:35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LabelPos">
    <vt:lpwstr>836;514;810;514;854;514</vt:lpwstr>
  </property>
  <property fmtid="{D5CDD505-2E9C-101B-9397-08002B2CF9AE}" pid="3" name="ContentTypeId">
    <vt:lpwstr>0x010100866BFFEA66D76E469B5F693411C498B7</vt:lpwstr>
  </property>
  <property fmtid="{D5CDD505-2E9C-101B-9397-08002B2CF9AE}" pid="4" name="c2b5fb8256bd435bb7806ac3891e195b">
    <vt:lpwstr>Short-Term|6d967203-8346-4b9c-90f8-b3828a3fa508</vt:lpwstr>
  </property>
  <property fmtid="{D5CDD505-2E9C-101B-9397-08002B2CF9AE}" pid="5" name="DataClassBayerRetention">
    <vt:lpwstr>1;#Short-Term|6d967203-8346-4b9c-90f8-b3828a3fa508</vt:lpwstr>
  </property>
  <property fmtid="{D5CDD505-2E9C-101B-9397-08002B2CF9AE}" pid="6" name="MSIP_Label_2c76c141-ac86-40e5-abf2-c6f60e474cee_Enabled">
    <vt:lpwstr>true</vt:lpwstr>
  </property>
  <property fmtid="{D5CDD505-2E9C-101B-9397-08002B2CF9AE}" pid="7" name="MSIP_Label_2c76c141-ac86-40e5-abf2-c6f60e474cee_SetDate">
    <vt:lpwstr>2022-08-24T06:24:21Z</vt:lpwstr>
  </property>
  <property fmtid="{D5CDD505-2E9C-101B-9397-08002B2CF9AE}" pid="8" name="MSIP_Label_2c76c141-ac86-40e5-abf2-c6f60e474cee_Method">
    <vt:lpwstr>Standard</vt:lpwstr>
  </property>
  <property fmtid="{D5CDD505-2E9C-101B-9397-08002B2CF9AE}" pid="9" name="MSIP_Label_2c76c141-ac86-40e5-abf2-c6f60e474cee_Name">
    <vt:lpwstr>2c76c141-ac86-40e5-abf2-c6f60e474cee</vt:lpwstr>
  </property>
  <property fmtid="{D5CDD505-2E9C-101B-9397-08002B2CF9AE}" pid="10" name="MSIP_Label_2c76c141-ac86-40e5-abf2-c6f60e474cee_SiteId">
    <vt:lpwstr>fcb2b37b-5da0-466b-9b83-0014b67a7c78</vt:lpwstr>
  </property>
  <property fmtid="{D5CDD505-2E9C-101B-9397-08002B2CF9AE}" pid="11" name="MSIP_Label_2c76c141-ac86-40e5-abf2-c6f60e474cee_ContentBits">
    <vt:lpwstr>2</vt:lpwstr>
  </property>
  <property fmtid="{D5CDD505-2E9C-101B-9397-08002B2CF9AE}" pid="12" name="MediaServiceImageTags">
    <vt:lpwstr/>
  </property>
</Properties>
</file>